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30" r:id="rId5"/>
  </p:sldMasterIdLst>
  <p:notesMasterIdLst>
    <p:notesMasterId r:id="rId15"/>
  </p:notesMasterIdLst>
  <p:sldIdLst>
    <p:sldId id="2147474973" r:id="rId6"/>
    <p:sldId id="2147481960" r:id="rId7"/>
    <p:sldId id="2147481962" r:id="rId8"/>
    <p:sldId id="2147481964" r:id="rId9"/>
    <p:sldId id="2147481956" r:id="rId10"/>
    <p:sldId id="2147481963" r:id="rId11"/>
    <p:sldId id="2147481961" r:id="rId12"/>
    <p:sldId id="2147481959" r:id="rId13"/>
    <p:sldId id="214748195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75A616-DD4E-529F-C0EF-C4D2005D61DF}" name="Jagannatha, Shyla [JRDUS]" initials="JS" userId="S::sjagann4@its.jnj.com::43342fde-24cc-4783-9ca3-f99b582bb82e" providerId="AD"/>
  <p188:author id="{7DB85B5F-9EDE-5ED4-D59A-6A8AD389DA81}" name="Trombello, Joseph   [JRDUS]" initials="JT" userId="S::JTrombel@its.jnj.com::a8f03ad8-476b-4712-a174-99725fda6d2b" providerId="AD"/>
  <p188:author id="{D2458071-9BE9-9F81-6209-7B6AA8BCF34A}" name="Hulstaert, Lars [RNDBE]" initials="LH" userId="S::LHulsta1@its.jnj.com::7cd61295-02dc-43fe-99c3-25fcac0d47f3" providerId="AD"/>
  <p188:author id="{503E3A8D-AB0F-F1D3-708E-AE3DCA97C001}" name="Eerdekens, Els [JRDBE]" initials="EE" userId="S::eeerdeke@its.jnj.com::ef7fae2e-6877-4590-a341-05d031b32498" providerId="AD"/>
  <p188:author id="{D1AD959B-D48F-67D6-DD20-4657C8222E9F}" name="Canuso, Carla M [JRDUS]" initials="C[" userId="S::ccanuso@its.jnj.com::200293af-61ca-453d-b535-fd959b92d843" providerId="AD"/>
  <p188:author id="{A9B459A1-6068-AD7E-D1DC-4E913F5ADE50}" name="Oztop, Ilker [JRDUS]" initials="O[" userId="S::ioztop@its.jnj.com::955f0eb3-88e0-4116-82d5-4ca98c876346" providerId="AD"/>
  <p188:author id="{C33FBDA7-85BC-03AE-9C07-4DA85310FB3E}" name="Hulstaert, Lars [RNDBE]" initials="H[" userId="S::lhulsta1@its.jnj.com::7cd61295-02dc-43fe-99c3-25fcac0d47f3" providerId="AD"/>
  <p188:author id="{D835E5A8-4BC7-F27F-E84A-9BAA8586AED5}" name="Kasuba, Asma [JRDUS]" initials="AK" userId="S::AKasuba@its.jnj.com::f1581866-4eb0-4441-a610-27f1e5b5a0d0" providerId="AD"/>
  <p188:author id="{EB366CB8-72BE-3293-7D71-8749D85B39AF}" name="Bhattacharya, Sanghita [ETHUS]" initials="BS[" userId="S::SBhatt71@its.jnj.com::f21246e9-a909-4056-8400-4186ec58c855" providerId="AD"/>
  <p188:author id="{1E82EEBE-6E99-048A-AFE8-3D3EC74D5F01}" name="Mcnulty, Erin [JRDUS]" initials="M[" userId="S::emcnulty@its.jnj.com::04dff056-c108-4033-9bf6-106196cdf03e" providerId="AD"/>
  <p188:author id="{0AE6FDCB-22B9-970D-6C89-8D83236B06ED}" name="Wong, Jacklynn [JRDUS]" initials="JW" userId="S::JWong68@its.jnj.com::7f69d310-548d-4a49-a1ef-181020596f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53C8A0-96BE-4EC9-92F4-4F8EC056316B}" v="2" dt="2025-05-01T12:37:53.845"/>
    <p1510:client id="{5B40C14C-7D03-4EF6-B2E8-9B5766616436}" v="3" dt="2025-04-30T15:01:26.486"/>
    <p1510:client id="{C2C36933-031A-924B-83F5-BC14AA70CC90}" v="18" dt="2025-05-01T11:20:59.5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n, Fei [JRDUS]" userId="d53dd1e8-3541-460e-afeb-fadcbd23f836" providerId="ADAL" clId="{5B40C14C-7D03-4EF6-B2E8-9B5766616436}"/>
    <pc:docChg chg="undo custSel addSld delSld modSld">
      <pc:chgData name="Chen, Fei [JRDUS]" userId="d53dd1e8-3541-460e-afeb-fadcbd23f836" providerId="ADAL" clId="{5B40C14C-7D03-4EF6-B2E8-9B5766616436}" dt="2025-04-30T15:08:38.245" v="1232" actId="20577"/>
      <pc:docMkLst>
        <pc:docMk/>
      </pc:docMkLst>
      <pc:sldChg chg="modSp mod">
        <pc:chgData name="Chen, Fei [JRDUS]" userId="d53dd1e8-3541-460e-afeb-fadcbd23f836" providerId="ADAL" clId="{5B40C14C-7D03-4EF6-B2E8-9B5766616436}" dt="2025-04-30T15:02:24.158" v="1091" actId="20577"/>
        <pc:sldMkLst>
          <pc:docMk/>
          <pc:sldMk cId="3179324640" sldId="2147474973"/>
        </pc:sldMkLst>
        <pc:spChg chg="mod">
          <ac:chgData name="Chen, Fei [JRDUS]" userId="d53dd1e8-3541-460e-afeb-fadcbd23f836" providerId="ADAL" clId="{5B40C14C-7D03-4EF6-B2E8-9B5766616436}" dt="2025-04-30T15:02:24.158" v="1091" actId="20577"/>
          <ac:spMkLst>
            <pc:docMk/>
            <pc:sldMk cId="3179324640" sldId="2147474973"/>
            <ac:spMk id="4" creationId="{25EC91AC-C302-AEC3-1CD4-A5616037B74F}"/>
          </ac:spMkLst>
        </pc:spChg>
      </pc:sldChg>
      <pc:sldChg chg="modSp mod">
        <pc:chgData name="Chen, Fei [JRDUS]" userId="d53dd1e8-3541-460e-afeb-fadcbd23f836" providerId="ADAL" clId="{5B40C14C-7D03-4EF6-B2E8-9B5766616436}" dt="2025-04-30T14:59:18.176" v="815" actId="20577"/>
        <pc:sldMkLst>
          <pc:docMk/>
          <pc:sldMk cId="144880773" sldId="2147481957"/>
        </pc:sldMkLst>
        <pc:graphicFrameChg chg="modGraphic">
          <ac:chgData name="Chen, Fei [JRDUS]" userId="d53dd1e8-3541-460e-afeb-fadcbd23f836" providerId="ADAL" clId="{5B40C14C-7D03-4EF6-B2E8-9B5766616436}" dt="2025-04-30T14:59:18.176" v="815" actId="20577"/>
          <ac:graphicFrameMkLst>
            <pc:docMk/>
            <pc:sldMk cId="144880773" sldId="2147481957"/>
            <ac:graphicFrameMk id="2" creationId="{4A4EEE8C-11D9-4929-62BA-AE2F4DDC32D3}"/>
          </ac:graphicFrameMkLst>
        </pc:graphicFrameChg>
      </pc:sldChg>
      <pc:sldChg chg="del">
        <pc:chgData name="Chen, Fei [JRDUS]" userId="d53dd1e8-3541-460e-afeb-fadcbd23f836" providerId="ADAL" clId="{5B40C14C-7D03-4EF6-B2E8-9B5766616436}" dt="2025-04-29T19:35:47.701" v="2" actId="47"/>
        <pc:sldMkLst>
          <pc:docMk/>
          <pc:sldMk cId="3660159347" sldId="2147481958"/>
        </pc:sldMkLst>
      </pc:sldChg>
      <pc:sldChg chg="modSp mod">
        <pc:chgData name="Chen, Fei [JRDUS]" userId="d53dd1e8-3541-460e-afeb-fadcbd23f836" providerId="ADAL" clId="{5B40C14C-7D03-4EF6-B2E8-9B5766616436}" dt="2025-04-30T15:02:18.985" v="1082" actId="20577"/>
        <pc:sldMkLst>
          <pc:docMk/>
          <pc:sldMk cId="33064264" sldId="2147481960"/>
        </pc:sldMkLst>
        <pc:spChg chg="mod">
          <ac:chgData name="Chen, Fei [JRDUS]" userId="d53dd1e8-3541-460e-afeb-fadcbd23f836" providerId="ADAL" clId="{5B40C14C-7D03-4EF6-B2E8-9B5766616436}" dt="2025-04-30T15:02:18.985" v="1082" actId="20577"/>
          <ac:spMkLst>
            <pc:docMk/>
            <pc:sldMk cId="33064264" sldId="2147481960"/>
            <ac:spMk id="5" creationId="{5AA00442-2C3F-696D-7683-A21CD8181C20}"/>
          </ac:spMkLst>
        </pc:spChg>
        <pc:spChg chg="mod">
          <ac:chgData name="Chen, Fei [JRDUS]" userId="d53dd1e8-3541-460e-afeb-fadcbd23f836" providerId="ADAL" clId="{5B40C14C-7D03-4EF6-B2E8-9B5766616436}" dt="2025-04-30T14:54:16.265" v="246" actId="20577"/>
          <ac:spMkLst>
            <pc:docMk/>
            <pc:sldMk cId="33064264" sldId="2147481960"/>
            <ac:spMk id="13" creationId="{F1652224-7AFD-7B63-9633-70592C46E262}"/>
          </ac:spMkLst>
        </pc:spChg>
      </pc:sldChg>
      <pc:sldChg chg="modSp del mod">
        <pc:chgData name="Chen, Fei [JRDUS]" userId="d53dd1e8-3541-460e-afeb-fadcbd23f836" providerId="ADAL" clId="{5B40C14C-7D03-4EF6-B2E8-9B5766616436}" dt="2025-04-30T15:01:23.080" v="1018" actId="2696"/>
        <pc:sldMkLst>
          <pc:docMk/>
          <pc:sldMk cId="684589930" sldId="2147481962"/>
        </pc:sldMkLst>
        <pc:spChg chg="mod">
          <ac:chgData name="Chen, Fei [JRDUS]" userId="d53dd1e8-3541-460e-afeb-fadcbd23f836" providerId="ADAL" clId="{5B40C14C-7D03-4EF6-B2E8-9B5766616436}" dt="2025-04-30T14:53:36.828" v="192" actId="20578"/>
          <ac:spMkLst>
            <pc:docMk/>
            <pc:sldMk cId="684589930" sldId="2147481962"/>
            <ac:spMk id="5" creationId="{517E0AEE-B3A9-62AF-928C-92A44C4B3BA1}"/>
          </ac:spMkLst>
        </pc:spChg>
      </pc:sldChg>
      <pc:sldChg chg="modSp add mod">
        <pc:chgData name="Chen, Fei [JRDUS]" userId="d53dd1e8-3541-460e-afeb-fadcbd23f836" providerId="ADAL" clId="{5B40C14C-7D03-4EF6-B2E8-9B5766616436}" dt="2025-04-30T15:07:16.571" v="1156" actId="20577"/>
        <pc:sldMkLst>
          <pc:docMk/>
          <pc:sldMk cId="3021207853" sldId="2147481962"/>
        </pc:sldMkLst>
        <pc:spChg chg="mod">
          <ac:chgData name="Chen, Fei [JRDUS]" userId="d53dd1e8-3541-460e-afeb-fadcbd23f836" providerId="ADAL" clId="{5B40C14C-7D03-4EF6-B2E8-9B5766616436}" dt="2025-04-30T15:07:16.571" v="1156" actId="20577"/>
          <ac:spMkLst>
            <pc:docMk/>
            <pc:sldMk cId="3021207853" sldId="2147481962"/>
            <ac:spMk id="5" creationId="{517E0AEE-B3A9-62AF-928C-92A44C4B3BA1}"/>
          </ac:spMkLst>
        </pc:spChg>
      </pc:sldChg>
      <pc:sldChg chg="modSp add mod">
        <pc:chgData name="Chen, Fei [JRDUS]" userId="d53dd1e8-3541-460e-afeb-fadcbd23f836" providerId="ADAL" clId="{5B40C14C-7D03-4EF6-B2E8-9B5766616436}" dt="2025-04-30T15:08:38.245" v="1232" actId="20577"/>
        <pc:sldMkLst>
          <pc:docMk/>
          <pc:sldMk cId="2790242129" sldId="2147481963"/>
        </pc:sldMkLst>
        <pc:spChg chg="mod">
          <ac:chgData name="Chen, Fei [JRDUS]" userId="d53dd1e8-3541-460e-afeb-fadcbd23f836" providerId="ADAL" clId="{5B40C14C-7D03-4EF6-B2E8-9B5766616436}" dt="2025-04-30T15:08:38.245" v="1232" actId="20577"/>
          <ac:spMkLst>
            <pc:docMk/>
            <pc:sldMk cId="2790242129" sldId="2147481963"/>
            <ac:spMk id="5" creationId="{F85B493F-A540-C578-946D-466E8B6B71D6}"/>
          </ac:spMkLst>
        </pc:spChg>
      </pc:sldChg>
      <pc:sldChg chg="add">
        <pc:chgData name="Chen, Fei [JRDUS]" userId="d53dd1e8-3541-460e-afeb-fadcbd23f836" providerId="ADAL" clId="{5B40C14C-7D03-4EF6-B2E8-9B5766616436}" dt="2025-04-30T14:53:57.739" v="193" actId="2890"/>
        <pc:sldMkLst>
          <pc:docMk/>
          <pc:sldMk cId="38722919" sldId="2147481964"/>
        </pc:sldMkLst>
      </pc:sldChg>
    </pc:docChg>
  </pc:docChgLst>
  <pc:docChgLst>
    <pc:chgData name="Chen, Fei [JRDUS]" userId="d53dd1e8-3541-460e-afeb-fadcbd23f836" providerId="ADAL" clId="{2953C8A0-96BE-4EC9-92F4-4F8EC056316B}"/>
    <pc:docChg chg="modSld">
      <pc:chgData name="Chen, Fei [JRDUS]" userId="d53dd1e8-3541-460e-afeb-fadcbd23f836" providerId="ADAL" clId="{2953C8A0-96BE-4EC9-92F4-4F8EC056316B}" dt="2025-05-01T12:37:53.845" v="1"/>
      <pc:docMkLst>
        <pc:docMk/>
      </pc:docMkLst>
      <pc:sldChg chg="modSp mod">
        <pc:chgData name="Chen, Fei [JRDUS]" userId="d53dd1e8-3541-460e-afeb-fadcbd23f836" providerId="ADAL" clId="{2953C8A0-96BE-4EC9-92F4-4F8EC056316B}" dt="2025-05-01T12:37:53.845" v="1"/>
        <pc:sldMkLst>
          <pc:docMk/>
          <pc:sldMk cId="33064264" sldId="2147481960"/>
        </pc:sldMkLst>
        <pc:spChg chg="mod">
          <ac:chgData name="Chen, Fei [JRDUS]" userId="d53dd1e8-3541-460e-afeb-fadcbd23f836" providerId="ADAL" clId="{2953C8A0-96BE-4EC9-92F4-4F8EC056316B}" dt="2025-05-01T12:37:53.845" v="1"/>
          <ac:spMkLst>
            <pc:docMk/>
            <pc:sldMk cId="33064264" sldId="2147481960"/>
            <ac:spMk id="5" creationId="{5AA00442-2C3F-696D-7683-A21CD8181C20}"/>
          </ac:spMkLst>
        </pc:spChg>
      </pc:sldChg>
    </pc:docChg>
  </pc:docChgLst>
  <pc:docChgLst>
    <pc:chgData name="Chen, Fei [JRDUS]" userId="d53dd1e8-3541-460e-afeb-fadcbd23f836" providerId="ADAL" clId="{C2C36933-031A-924B-83F5-BC14AA70CC90}"/>
    <pc:docChg chg="modSld">
      <pc:chgData name="Chen, Fei [JRDUS]" userId="d53dd1e8-3541-460e-afeb-fadcbd23f836" providerId="ADAL" clId="{C2C36933-031A-924B-83F5-BC14AA70CC90}" dt="2025-05-01T11:20:59.532" v="17" actId="20577"/>
      <pc:docMkLst>
        <pc:docMk/>
      </pc:docMkLst>
      <pc:sldChg chg="modSp">
        <pc:chgData name="Chen, Fei [JRDUS]" userId="d53dd1e8-3541-460e-afeb-fadcbd23f836" providerId="ADAL" clId="{C2C36933-031A-924B-83F5-BC14AA70CC90}" dt="2025-05-01T11:20:59.532" v="17" actId="20577"/>
        <pc:sldMkLst>
          <pc:docMk/>
          <pc:sldMk cId="33064264" sldId="2147481960"/>
        </pc:sldMkLst>
        <pc:spChg chg="mod">
          <ac:chgData name="Chen, Fei [JRDUS]" userId="d53dd1e8-3541-460e-afeb-fadcbd23f836" providerId="ADAL" clId="{C2C36933-031A-924B-83F5-BC14AA70CC90}" dt="2025-05-01T11:20:59.532" v="17" actId="20577"/>
          <ac:spMkLst>
            <pc:docMk/>
            <pc:sldMk cId="33064264" sldId="2147481960"/>
            <ac:spMk id="5" creationId="{5AA00442-2C3F-696D-7683-A21CD8181C2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68FA0-2DAA-4895-B745-C727A1FEB37C}" type="datetimeFigureOut">
              <a:rPr lang="nl-BE" smtClean="0"/>
              <a:t>1/05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08EAB-216F-42CD-8A76-9FBD88D241F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79110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99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2E36CEA2-652F-75DC-D683-227EE3CCAC18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645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700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1198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710258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C40E4DC1-BB74-3975-DFE6-D6234B08E410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0032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3778250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9B23211-718F-C72D-C415-24096BDEE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BAE1C4-8C53-F889-33BD-2F49ACEA1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2CECF5-BBCB-3C3C-5C16-98CE56519A6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85959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2776485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498F38D-E287-CD9F-9BFC-10B3256FE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29701B-BA59-63AC-184E-531FE07F6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Graphic 8">
            <a:extLst>
              <a:ext uri="{FF2B5EF4-FFF2-40B4-BE49-F238E27FC236}">
                <a16:creationId xmlns:a16="http://schemas.microsoft.com/office/drawing/2014/main" id="{9E2456D6-0DCE-CB9D-60A5-2CD05AD6A4F2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8270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06912E-45D9-5EEE-9496-4E85E1874A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6399777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736E8E3-26E6-DF9F-264A-BFE1AD9B0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2540933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FD0E279-D09C-E44C-0FD5-7AAE367C5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110929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B7E02200-51E6-11EB-F9C2-B25EC78CC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596B4D9D-1962-9920-7F5F-A7A616FD4C77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0519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EA53A9D8-7E77-B7F4-501A-731F65EFB066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8140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995014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458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875" y="2317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6875" y="6254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06875" y="1022195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06875" y="14189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06875" y="1815643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06875" y="221236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06875" y="260765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06875" y="300293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06875" y="339822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06875" y="379350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206875" y="4185778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206875" y="457804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206875" y="49690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206875" y="535998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281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002212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912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87803E29-408D-BDC5-463B-8562EADCC69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962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76717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600835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416523"/>
            <a:ext cx="3778250" cy="1816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7469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76229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198602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76921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160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1082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81BA223A-6973-8C60-D519-0AA8E983C929}"/>
              </a:ext>
            </a:extLst>
          </p:cNvPr>
          <p:cNvSpPr>
            <a:spLocks noChangeAspect="1"/>
          </p:cNvSpPr>
          <p:nvPr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tx2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765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620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60586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587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31294"/>
            <a:ext cx="2793541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32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31294"/>
            <a:ext cx="2793542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31294"/>
            <a:ext cx="2803525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 dirty="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31294"/>
            <a:ext cx="279399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23353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964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10555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480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94493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06874" y="5394325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4205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99448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425E56B-E4E3-AAD1-76B4-3D67B284E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66824" y="6413500"/>
            <a:ext cx="4754563" cy="15346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03E3838-150C-B34D-4F16-CEA95E3C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4874" y="6413500"/>
            <a:ext cx="837741" cy="15346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3143518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9515116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6666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5D6A6F-0428-2EB9-8170-122B4D256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95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578878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11E89327-3BBA-1507-2BFB-0E509816FBA8}"/>
              </a:ext>
            </a:extLst>
          </p:cNvPr>
          <p:cNvSpPr/>
          <p:nvPr userDrawn="1"/>
        </p:nvSpPr>
        <p:spPr>
          <a:xfrm>
            <a:off x="291593" y="28148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585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</p:spTree>
    <p:extLst>
      <p:ext uri="{BB962C8B-B14F-4D97-AF65-F5344CB8AC3E}">
        <p14:creationId xmlns:p14="http://schemas.microsoft.com/office/powerpoint/2010/main" val="23459409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984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3012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4pPr>
              <a:defRPr sz="5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2571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846018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5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098825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303234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239741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5" y="2338387"/>
            <a:ext cx="4750422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876062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2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4pPr>
              <a:defRPr lang="en-GB"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9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4pPr>
              <a:defRPr lang="en-GB" sz="4000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7915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98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443" y="4389438"/>
            <a:ext cx="2795587" cy="22206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E083875-577D-C85F-0FB1-123AA06C12E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2F7807F1-53C0-9778-02CC-E8554C5CE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0285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4pPr>
              <a:defRPr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737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872128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5999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0256C6C6-C2B0-619B-06B6-F0B7706CD3D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994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B58D846E-E0EB-4B4E-2451-D64CE997DC6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458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2776485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F98AA2-E2DC-E0E0-4C8F-760BB9A932E3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82FD8FC-F7B2-9C6C-B17A-E86A85F913E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Graphic 8">
            <a:extLst>
              <a:ext uri="{FF2B5EF4-FFF2-40B4-BE49-F238E27FC236}">
                <a16:creationId xmlns:a16="http://schemas.microsoft.com/office/drawing/2014/main" id="{39092A83-DA5A-9054-8843-290AA80FA357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885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85804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495412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3211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8850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tx2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3250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4244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A2702702-3E11-9FDF-5B64-822892AA8E70}"/>
              </a:ext>
            </a:extLst>
          </p:cNvPr>
          <p:cNvSpPr/>
          <p:nvPr/>
        </p:nvSpPr>
        <p:spPr>
          <a:xfrm>
            <a:off x="284298" y="5510092"/>
            <a:ext cx="11615602" cy="1069665"/>
          </a:xfrm>
          <a:custGeom>
            <a:avLst/>
            <a:gdLst>
              <a:gd name="connsiteX0" fmla="*/ 1169268 w 11823056"/>
              <a:gd name="connsiteY0" fmla="*/ 997887 h 1088769"/>
              <a:gd name="connsiteX1" fmla="*/ 988876 w 11823056"/>
              <a:gd name="connsiteY1" fmla="*/ 692983 h 1088769"/>
              <a:gd name="connsiteX2" fmla="*/ 1169268 w 11823056"/>
              <a:gd name="connsiteY2" fmla="*/ 388078 h 1088769"/>
              <a:gd name="connsiteX3" fmla="*/ 1349660 w 11823056"/>
              <a:gd name="connsiteY3" fmla="*/ 692983 h 1088769"/>
              <a:gd name="connsiteX4" fmla="*/ 1169268 w 11823056"/>
              <a:gd name="connsiteY4" fmla="*/ 997887 h 1088769"/>
              <a:gd name="connsiteX5" fmla="*/ 1169268 w 11823056"/>
              <a:gd name="connsiteY5" fmla="*/ 306324 h 1088769"/>
              <a:gd name="connsiteX6" fmla="*/ 802539 w 11823056"/>
              <a:gd name="connsiteY6" fmla="*/ 692983 h 1088769"/>
              <a:gd name="connsiteX7" fmla="*/ 1169268 w 11823056"/>
              <a:gd name="connsiteY7" fmla="*/ 1079641 h 1088769"/>
              <a:gd name="connsiteX8" fmla="*/ 1535997 w 11823056"/>
              <a:gd name="connsiteY8" fmla="*/ 692983 h 1088769"/>
              <a:gd name="connsiteX9" fmla="*/ 1169268 w 11823056"/>
              <a:gd name="connsiteY9" fmla="*/ 306324 h 1088769"/>
              <a:gd name="connsiteX10" fmla="*/ 2808786 w 11823056"/>
              <a:gd name="connsiteY10" fmla="*/ 306324 h 1088769"/>
              <a:gd name="connsiteX11" fmla="*/ 2601335 w 11823056"/>
              <a:gd name="connsiteY11" fmla="*/ 414856 h 1088769"/>
              <a:gd name="connsiteX12" fmla="*/ 2592315 w 11823056"/>
              <a:gd name="connsiteY12" fmla="*/ 414856 h 1088769"/>
              <a:gd name="connsiteX13" fmla="*/ 2592315 w 11823056"/>
              <a:gd name="connsiteY13" fmla="*/ 321133 h 1088769"/>
              <a:gd name="connsiteX14" fmla="*/ 2414998 w 11823056"/>
              <a:gd name="connsiteY14" fmla="*/ 321133 h 1088769"/>
              <a:gd name="connsiteX15" fmla="*/ 2414998 w 11823056"/>
              <a:gd name="connsiteY15" fmla="*/ 1064832 h 1088769"/>
              <a:gd name="connsiteX16" fmla="*/ 2592315 w 11823056"/>
              <a:gd name="connsiteY16" fmla="*/ 1064832 h 1088769"/>
              <a:gd name="connsiteX17" fmla="*/ 2592315 w 11823056"/>
              <a:gd name="connsiteY17" fmla="*/ 584451 h 1088769"/>
              <a:gd name="connsiteX18" fmla="*/ 2741139 w 11823056"/>
              <a:gd name="connsiteY18" fmla="*/ 410393 h 1088769"/>
              <a:gd name="connsiteX19" fmla="*/ 2868848 w 11823056"/>
              <a:gd name="connsiteY19" fmla="*/ 556253 h 1088769"/>
              <a:gd name="connsiteX20" fmla="*/ 2868848 w 11823056"/>
              <a:gd name="connsiteY20" fmla="*/ 1064832 h 1088769"/>
              <a:gd name="connsiteX21" fmla="*/ 3046165 w 11823056"/>
              <a:gd name="connsiteY21" fmla="*/ 1064832 h 1088769"/>
              <a:gd name="connsiteX22" fmla="*/ 3046165 w 11823056"/>
              <a:gd name="connsiteY22" fmla="*/ 554630 h 1088769"/>
              <a:gd name="connsiteX23" fmla="*/ 2808786 w 11823056"/>
              <a:gd name="connsiteY23" fmla="*/ 306324 h 1088769"/>
              <a:gd name="connsiteX24" fmla="*/ 3448972 w 11823056"/>
              <a:gd name="connsiteY24" fmla="*/ 306324 h 1088769"/>
              <a:gd name="connsiteX25" fmla="*/ 3161985 w 11823056"/>
              <a:gd name="connsiteY25" fmla="*/ 520548 h 1088769"/>
              <a:gd name="connsiteX26" fmla="*/ 3343812 w 11823056"/>
              <a:gd name="connsiteY26" fmla="*/ 734773 h 1088769"/>
              <a:gd name="connsiteX27" fmla="*/ 3494070 w 11823056"/>
              <a:gd name="connsiteY27" fmla="*/ 771897 h 1088769"/>
              <a:gd name="connsiteX28" fmla="*/ 3609890 w 11823056"/>
              <a:gd name="connsiteY28" fmla="*/ 882052 h 1088769"/>
              <a:gd name="connsiteX29" fmla="*/ 3461067 w 11823056"/>
              <a:gd name="connsiteY29" fmla="*/ 1001133 h 1088769"/>
              <a:gd name="connsiteX30" fmla="*/ 3289694 w 11823056"/>
              <a:gd name="connsiteY30" fmla="*/ 828699 h 1088769"/>
              <a:gd name="connsiteX31" fmla="*/ 3130416 w 11823056"/>
              <a:gd name="connsiteY31" fmla="*/ 873329 h 1088769"/>
              <a:gd name="connsiteX32" fmla="*/ 3441593 w 11823056"/>
              <a:gd name="connsiteY32" fmla="*/ 1080047 h 1088769"/>
              <a:gd name="connsiteX33" fmla="*/ 3754204 w 11823056"/>
              <a:gd name="connsiteY33" fmla="*/ 837625 h 1088769"/>
              <a:gd name="connsiteX34" fmla="*/ 3554338 w 11823056"/>
              <a:gd name="connsiteY34" fmla="*/ 614474 h 1088769"/>
              <a:gd name="connsiteX35" fmla="*/ 3410024 w 11823056"/>
              <a:gd name="connsiteY35" fmla="*/ 578770 h 1088769"/>
              <a:gd name="connsiteX36" fmla="*/ 3306299 w 11823056"/>
              <a:gd name="connsiteY36" fmla="*/ 480584 h 1088769"/>
              <a:gd name="connsiteX37" fmla="*/ 3434008 w 11823056"/>
              <a:gd name="connsiteY37" fmla="*/ 385441 h 1088769"/>
              <a:gd name="connsiteX38" fmla="*/ 3587341 w 11823056"/>
              <a:gd name="connsiteY38" fmla="*/ 528257 h 1088769"/>
              <a:gd name="connsiteX39" fmla="*/ 3737599 w 11823056"/>
              <a:gd name="connsiteY39" fmla="*/ 483627 h 1088769"/>
              <a:gd name="connsiteX40" fmla="*/ 3448972 w 11823056"/>
              <a:gd name="connsiteY40" fmla="*/ 306324 h 1088769"/>
              <a:gd name="connsiteX41" fmla="*/ 4194524 w 11823056"/>
              <a:gd name="connsiteY41" fmla="*/ 997887 h 1088769"/>
              <a:gd name="connsiteX42" fmla="*/ 4014132 w 11823056"/>
              <a:gd name="connsiteY42" fmla="*/ 692983 h 1088769"/>
              <a:gd name="connsiteX43" fmla="*/ 4194524 w 11823056"/>
              <a:gd name="connsiteY43" fmla="*/ 388078 h 1088769"/>
              <a:gd name="connsiteX44" fmla="*/ 4374916 w 11823056"/>
              <a:gd name="connsiteY44" fmla="*/ 692983 h 1088769"/>
              <a:gd name="connsiteX45" fmla="*/ 4194524 w 11823056"/>
              <a:gd name="connsiteY45" fmla="*/ 997887 h 1088769"/>
              <a:gd name="connsiteX46" fmla="*/ 4194524 w 11823056"/>
              <a:gd name="connsiteY46" fmla="*/ 306324 h 1088769"/>
              <a:gd name="connsiteX47" fmla="*/ 3827796 w 11823056"/>
              <a:gd name="connsiteY47" fmla="*/ 692983 h 1088769"/>
              <a:gd name="connsiteX48" fmla="*/ 4194524 w 11823056"/>
              <a:gd name="connsiteY48" fmla="*/ 1079641 h 1088769"/>
              <a:gd name="connsiteX49" fmla="*/ 4561253 w 11823056"/>
              <a:gd name="connsiteY49" fmla="*/ 692983 h 1088769"/>
              <a:gd name="connsiteX50" fmla="*/ 4194524 w 11823056"/>
              <a:gd name="connsiteY50" fmla="*/ 306324 h 1088769"/>
              <a:gd name="connsiteX51" fmla="*/ 5060201 w 11823056"/>
              <a:gd name="connsiteY51" fmla="*/ 306324 h 1088769"/>
              <a:gd name="connsiteX52" fmla="*/ 4852750 w 11823056"/>
              <a:gd name="connsiteY52" fmla="*/ 414856 h 1088769"/>
              <a:gd name="connsiteX53" fmla="*/ 4843731 w 11823056"/>
              <a:gd name="connsiteY53" fmla="*/ 414856 h 1088769"/>
              <a:gd name="connsiteX54" fmla="*/ 4843731 w 11823056"/>
              <a:gd name="connsiteY54" fmla="*/ 321133 h 1088769"/>
              <a:gd name="connsiteX55" fmla="*/ 4666414 w 11823056"/>
              <a:gd name="connsiteY55" fmla="*/ 321133 h 1088769"/>
              <a:gd name="connsiteX56" fmla="*/ 4666414 w 11823056"/>
              <a:gd name="connsiteY56" fmla="*/ 1064832 h 1088769"/>
              <a:gd name="connsiteX57" fmla="*/ 4843731 w 11823056"/>
              <a:gd name="connsiteY57" fmla="*/ 1064832 h 1088769"/>
              <a:gd name="connsiteX58" fmla="*/ 4843731 w 11823056"/>
              <a:gd name="connsiteY58" fmla="*/ 584451 h 1088769"/>
              <a:gd name="connsiteX59" fmla="*/ 4992554 w 11823056"/>
              <a:gd name="connsiteY59" fmla="*/ 410393 h 1088769"/>
              <a:gd name="connsiteX60" fmla="*/ 5120263 w 11823056"/>
              <a:gd name="connsiteY60" fmla="*/ 556253 h 1088769"/>
              <a:gd name="connsiteX61" fmla="*/ 5120263 w 11823056"/>
              <a:gd name="connsiteY61" fmla="*/ 1064832 h 1088769"/>
              <a:gd name="connsiteX62" fmla="*/ 5297580 w 11823056"/>
              <a:gd name="connsiteY62" fmla="*/ 1064832 h 1088769"/>
              <a:gd name="connsiteX63" fmla="*/ 5297580 w 11823056"/>
              <a:gd name="connsiteY63" fmla="*/ 554630 h 1088769"/>
              <a:gd name="connsiteX64" fmla="*/ 5060201 w 11823056"/>
              <a:gd name="connsiteY64" fmla="*/ 306324 h 1088769"/>
              <a:gd name="connsiteX65" fmla="*/ 7694744 w 11823056"/>
              <a:gd name="connsiteY65" fmla="*/ 997887 h 1088769"/>
              <a:gd name="connsiteX66" fmla="*/ 7514353 w 11823056"/>
              <a:gd name="connsiteY66" fmla="*/ 692983 h 1088769"/>
              <a:gd name="connsiteX67" fmla="*/ 7694744 w 11823056"/>
              <a:gd name="connsiteY67" fmla="*/ 388078 h 1088769"/>
              <a:gd name="connsiteX68" fmla="*/ 7875136 w 11823056"/>
              <a:gd name="connsiteY68" fmla="*/ 692983 h 1088769"/>
              <a:gd name="connsiteX69" fmla="*/ 7694744 w 11823056"/>
              <a:gd name="connsiteY69" fmla="*/ 997887 h 1088769"/>
              <a:gd name="connsiteX70" fmla="*/ 7694744 w 11823056"/>
              <a:gd name="connsiteY70" fmla="*/ 306324 h 1088769"/>
              <a:gd name="connsiteX71" fmla="*/ 7328015 w 11823056"/>
              <a:gd name="connsiteY71" fmla="*/ 692983 h 1088769"/>
              <a:gd name="connsiteX72" fmla="*/ 7694744 w 11823056"/>
              <a:gd name="connsiteY72" fmla="*/ 1079641 h 1088769"/>
              <a:gd name="connsiteX73" fmla="*/ 8061473 w 11823056"/>
              <a:gd name="connsiteY73" fmla="*/ 692983 h 1088769"/>
              <a:gd name="connsiteX74" fmla="*/ 7694744 w 11823056"/>
              <a:gd name="connsiteY74" fmla="*/ 306324 h 1088769"/>
              <a:gd name="connsiteX75" fmla="*/ 9334262 w 11823056"/>
              <a:gd name="connsiteY75" fmla="*/ 306324 h 1088769"/>
              <a:gd name="connsiteX76" fmla="*/ 9126810 w 11823056"/>
              <a:gd name="connsiteY76" fmla="*/ 414856 h 1088769"/>
              <a:gd name="connsiteX77" fmla="*/ 9117791 w 11823056"/>
              <a:gd name="connsiteY77" fmla="*/ 414856 h 1088769"/>
              <a:gd name="connsiteX78" fmla="*/ 9117791 w 11823056"/>
              <a:gd name="connsiteY78" fmla="*/ 321133 h 1088769"/>
              <a:gd name="connsiteX79" fmla="*/ 8940474 w 11823056"/>
              <a:gd name="connsiteY79" fmla="*/ 321133 h 1088769"/>
              <a:gd name="connsiteX80" fmla="*/ 8940474 w 11823056"/>
              <a:gd name="connsiteY80" fmla="*/ 1064832 h 1088769"/>
              <a:gd name="connsiteX81" fmla="*/ 9117791 w 11823056"/>
              <a:gd name="connsiteY81" fmla="*/ 1064832 h 1088769"/>
              <a:gd name="connsiteX82" fmla="*/ 9117791 w 11823056"/>
              <a:gd name="connsiteY82" fmla="*/ 584451 h 1088769"/>
              <a:gd name="connsiteX83" fmla="*/ 9266614 w 11823056"/>
              <a:gd name="connsiteY83" fmla="*/ 410393 h 1088769"/>
              <a:gd name="connsiteX84" fmla="*/ 9394324 w 11823056"/>
              <a:gd name="connsiteY84" fmla="*/ 556253 h 1088769"/>
              <a:gd name="connsiteX85" fmla="*/ 9394324 w 11823056"/>
              <a:gd name="connsiteY85" fmla="*/ 1064832 h 1088769"/>
              <a:gd name="connsiteX86" fmla="*/ 9571641 w 11823056"/>
              <a:gd name="connsiteY86" fmla="*/ 1064832 h 1088769"/>
              <a:gd name="connsiteX87" fmla="*/ 9571641 w 11823056"/>
              <a:gd name="connsiteY87" fmla="*/ 554630 h 1088769"/>
              <a:gd name="connsiteX88" fmla="*/ 9334262 w 11823056"/>
              <a:gd name="connsiteY88" fmla="*/ 306324 h 1088769"/>
              <a:gd name="connsiteX89" fmla="*/ 9974653 w 11823056"/>
              <a:gd name="connsiteY89" fmla="*/ 306324 h 1088769"/>
              <a:gd name="connsiteX90" fmla="*/ 9687666 w 11823056"/>
              <a:gd name="connsiteY90" fmla="*/ 520548 h 1088769"/>
              <a:gd name="connsiteX91" fmla="*/ 9869493 w 11823056"/>
              <a:gd name="connsiteY91" fmla="*/ 734773 h 1088769"/>
              <a:gd name="connsiteX92" fmla="*/ 10019751 w 11823056"/>
              <a:gd name="connsiteY92" fmla="*/ 771897 h 1088769"/>
              <a:gd name="connsiteX93" fmla="*/ 10135571 w 11823056"/>
              <a:gd name="connsiteY93" fmla="*/ 882052 h 1088769"/>
              <a:gd name="connsiteX94" fmla="*/ 9986747 w 11823056"/>
              <a:gd name="connsiteY94" fmla="*/ 1001133 h 1088769"/>
              <a:gd name="connsiteX95" fmla="*/ 9815375 w 11823056"/>
              <a:gd name="connsiteY95" fmla="*/ 828699 h 1088769"/>
              <a:gd name="connsiteX96" fmla="*/ 9656097 w 11823056"/>
              <a:gd name="connsiteY96" fmla="*/ 873329 h 1088769"/>
              <a:gd name="connsiteX97" fmla="*/ 9967273 w 11823056"/>
              <a:gd name="connsiteY97" fmla="*/ 1080047 h 1088769"/>
              <a:gd name="connsiteX98" fmla="*/ 10279884 w 11823056"/>
              <a:gd name="connsiteY98" fmla="*/ 837625 h 1088769"/>
              <a:gd name="connsiteX99" fmla="*/ 10080018 w 11823056"/>
              <a:gd name="connsiteY99" fmla="*/ 614474 h 1088769"/>
              <a:gd name="connsiteX100" fmla="*/ 9935705 w 11823056"/>
              <a:gd name="connsiteY100" fmla="*/ 578770 h 1088769"/>
              <a:gd name="connsiteX101" fmla="*/ 9831980 w 11823056"/>
              <a:gd name="connsiteY101" fmla="*/ 480584 h 1088769"/>
              <a:gd name="connsiteX102" fmla="*/ 9959688 w 11823056"/>
              <a:gd name="connsiteY102" fmla="*/ 385441 h 1088769"/>
              <a:gd name="connsiteX103" fmla="*/ 10113022 w 11823056"/>
              <a:gd name="connsiteY103" fmla="*/ 528257 h 1088769"/>
              <a:gd name="connsiteX104" fmla="*/ 10263280 w 11823056"/>
              <a:gd name="connsiteY104" fmla="*/ 483627 h 1088769"/>
              <a:gd name="connsiteX105" fmla="*/ 9974653 w 11823056"/>
              <a:gd name="connsiteY105" fmla="*/ 306324 h 1088769"/>
              <a:gd name="connsiteX106" fmla="*/ 10720000 w 11823056"/>
              <a:gd name="connsiteY106" fmla="*/ 997887 h 1088769"/>
              <a:gd name="connsiteX107" fmla="*/ 10539607 w 11823056"/>
              <a:gd name="connsiteY107" fmla="*/ 692983 h 1088769"/>
              <a:gd name="connsiteX108" fmla="*/ 10720000 w 11823056"/>
              <a:gd name="connsiteY108" fmla="*/ 388078 h 1088769"/>
              <a:gd name="connsiteX109" fmla="*/ 10900392 w 11823056"/>
              <a:gd name="connsiteY109" fmla="*/ 692983 h 1088769"/>
              <a:gd name="connsiteX110" fmla="*/ 10720000 w 11823056"/>
              <a:gd name="connsiteY110" fmla="*/ 997887 h 1088769"/>
              <a:gd name="connsiteX111" fmla="*/ 10720000 w 11823056"/>
              <a:gd name="connsiteY111" fmla="*/ 306324 h 1088769"/>
              <a:gd name="connsiteX112" fmla="*/ 10353271 w 11823056"/>
              <a:gd name="connsiteY112" fmla="*/ 692983 h 1088769"/>
              <a:gd name="connsiteX113" fmla="*/ 10720000 w 11823056"/>
              <a:gd name="connsiteY113" fmla="*/ 1079641 h 1088769"/>
              <a:gd name="connsiteX114" fmla="*/ 11086728 w 11823056"/>
              <a:gd name="connsiteY114" fmla="*/ 692983 h 1088769"/>
              <a:gd name="connsiteX115" fmla="*/ 10720000 w 11823056"/>
              <a:gd name="connsiteY115" fmla="*/ 306324 h 1088769"/>
              <a:gd name="connsiteX116" fmla="*/ 11585677 w 11823056"/>
              <a:gd name="connsiteY116" fmla="*/ 306324 h 1088769"/>
              <a:gd name="connsiteX117" fmla="*/ 11378226 w 11823056"/>
              <a:gd name="connsiteY117" fmla="*/ 414856 h 1088769"/>
              <a:gd name="connsiteX118" fmla="*/ 11369206 w 11823056"/>
              <a:gd name="connsiteY118" fmla="*/ 414856 h 1088769"/>
              <a:gd name="connsiteX119" fmla="*/ 11369206 w 11823056"/>
              <a:gd name="connsiteY119" fmla="*/ 321133 h 1088769"/>
              <a:gd name="connsiteX120" fmla="*/ 11191889 w 11823056"/>
              <a:gd name="connsiteY120" fmla="*/ 321133 h 1088769"/>
              <a:gd name="connsiteX121" fmla="*/ 11191889 w 11823056"/>
              <a:gd name="connsiteY121" fmla="*/ 1064832 h 1088769"/>
              <a:gd name="connsiteX122" fmla="*/ 11369206 w 11823056"/>
              <a:gd name="connsiteY122" fmla="*/ 1064832 h 1088769"/>
              <a:gd name="connsiteX123" fmla="*/ 11369206 w 11823056"/>
              <a:gd name="connsiteY123" fmla="*/ 584451 h 1088769"/>
              <a:gd name="connsiteX124" fmla="*/ 11518030 w 11823056"/>
              <a:gd name="connsiteY124" fmla="*/ 410393 h 1088769"/>
              <a:gd name="connsiteX125" fmla="*/ 11645739 w 11823056"/>
              <a:gd name="connsiteY125" fmla="*/ 556253 h 1088769"/>
              <a:gd name="connsiteX126" fmla="*/ 11645739 w 11823056"/>
              <a:gd name="connsiteY126" fmla="*/ 1064832 h 1088769"/>
              <a:gd name="connsiteX127" fmla="*/ 11823056 w 11823056"/>
              <a:gd name="connsiteY127" fmla="*/ 1064832 h 1088769"/>
              <a:gd name="connsiteX128" fmla="*/ 11823056 w 11823056"/>
              <a:gd name="connsiteY128" fmla="*/ 554630 h 1088769"/>
              <a:gd name="connsiteX129" fmla="*/ 11585677 w 11823056"/>
              <a:gd name="connsiteY129" fmla="*/ 306324 h 1088769"/>
              <a:gd name="connsiteX130" fmla="*/ 697379 w 11823056"/>
              <a:gd name="connsiteY130" fmla="*/ 23735 h 1088769"/>
              <a:gd name="connsiteX131" fmla="*/ 511042 w 11823056"/>
              <a:gd name="connsiteY131" fmla="*/ 23735 h 1088769"/>
              <a:gd name="connsiteX132" fmla="*/ 511042 w 11823056"/>
              <a:gd name="connsiteY132" fmla="*/ 792589 h 1088769"/>
              <a:gd name="connsiteX133" fmla="*/ 348690 w 11823056"/>
              <a:gd name="connsiteY133" fmla="*/ 991801 h 1088769"/>
              <a:gd name="connsiteX134" fmla="*/ 186337 w 11823056"/>
              <a:gd name="connsiteY134" fmla="*/ 777577 h 1088769"/>
              <a:gd name="connsiteX135" fmla="*/ 186337 w 11823056"/>
              <a:gd name="connsiteY135" fmla="*/ 634761 h 1088769"/>
              <a:gd name="connsiteX136" fmla="*/ 0 w 11823056"/>
              <a:gd name="connsiteY136" fmla="*/ 680811 h 1088769"/>
              <a:gd name="connsiteX137" fmla="*/ 0 w 11823056"/>
              <a:gd name="connsiteY137" fmla="*/ 744713 h 1088769"/>
              <a:gd name="connsiteX138" fmla="*/ 348690 w 11823056"/>
              <a:gd name="connsiteY138" fmla="*/ 1088364 h 1088769"/>
              <a:gd name="connsiteX139" fmla="*/ 697379 w 11823056"/>
              <a:gd name="connsiteY139" fmla="*/ 744713 h 1088769"/>
              <a:gd name="connsiteX140" fmla="*/ 697379 w 11823056"/>
              <a:gd name="connsiteY140" fmla="*/ 23735 h 1088769"/>
              <a:gd name="connsiteX141" fmla="*/ 1818474 w 11823056"/>
              <a:gd name="connsiteY141" fmla="*/ 23735 h 1088769"/>
              <a:gd name="connsiteX142" fmla="*/ 1641157 w 11823056"/>
              <a:gd name="connsiteY142" fmla="*/ 23735 h 1088769"/>
              <a:gd name="connsiteX143" fmla="*/ 1641157 w 11823056"/>
              <a:gd name="connsiteY143" fmla="*/ 1064832 h 1088769"/>
              <a:gd name="connsiteX144" fmla="*/ 1818474 w 11823056"/>
              <a:gd name="connsiteY144" fmla="*/ 1064832 h 1088769"/>
              <a:gd name="connsiteX145" fmla="*/ 1818474 w 11823056"/>
              <a:gd name="connsiteY145" fmla="*/ 584451 h 1088769"/>
              <a:gd name="connsiteX146" fmla="*/ 1967298 w 11823056"/>
              <a:gd name="connsiteY146" fmla="*/ 410393 h 1088769"/>
              <a:gd name="connsiteX147" fmla="*/ 2095007 w 11823056"/>
              <a:gd name="connsiteY147" fmla="*/ 556253 h 1088769"/>
              <a:gd name="connsiteX148" fmla="*/ 2095007 w 11823056"/>
              <a:gd name="connsiteY148" fmla="*/ 1064832 h 1088769"/>
              <a:gd name="connsiteX149" fmla="*/ 2272324 w 11823056"/>
              <a:gd name="connsiteY149" fmla="*/ 1064832 h 1088769"/>
              <a:gd name="connsiteX150" fmla="*/ 2272324 w 11823056"/>
              <a:gd name="connsiteY150" fmla="*/ 554630 h 1088769"/>
              <a:gd name="connsiteX151" fmla="*/ 2034945 w 11823056"/>
              <a:gd name="connsiteY151" fmla="*/ 306324 h 1088769"/>
              <a:gd name="connsiteX152" fmla="*/ 1827494 w 11823056"/>
              <a:gd name="connsiteY152" fmla="*/ 414856 h 1088769"/>
              <a:gd name="connsiteX153" fmla="*/ 1818474 w 11823056"/>
              <a:gd name="connsiteY153" fmla="*/ 414856 h 1088769"/>
              <a:gd name="connsiteX154" fmla="*/ 1818474 w 11823056"/>
              <a:gd name="connsiteY154" fmla="*/ 23735 h 1088769"/>
              <a:gd name="connsiteX155" fmla="*/ 7222855 w 11823056"/>
              <a:gd name="connsiteY155" fmla="*/ 23735 h 1088769"/>
              <a:gd name="connsiteX156" fmla="*/ 7036518 w 11823056"/>
              <a:gd name="connsiteY156" fmla="*/ 23735 h 1088769"/>
              <a:gd name="connsiteX157" fmla="*/ 7036518 w 11823056"/>
              <a:gd name="connsiteY157" fmla="*/ 792589 h 1088769"/>
              <a:gd name="connsiteX158" fmla="*/ 6874166 w 11823056"/>
              <a:gd name="connsiteY158" fmla="*/ 991801 h 1088769"/>
              <a:gd name="connsiteX159" fmla="*/ 6711813 w 11823056"/>
              <a:gd name="connsiteY159" fmla="*/ 777577 h 1088769"/>
              <a:gd name="connsiteX160" fmla="*/ 6711813 w 11823056"/>
              <a:gd name="connsiteY160" fmla="*/ 634761 h 1088769"/>
              <a:gd name="connsiteX161" fmla="*/ 6525476 w 11823056"/>
              <a:gd name="connsiteY161" fmla="*/ 680811 h 1088769"/>
              <a:gd name="connsiteX162" fmla="*/ 6525476 w 11823056"/>
              <a:gd name="connsiteY162" fmla="*/ 744713 h 1088769"/>
              <a:gd name="connsiteX163" fmla="*/ 6874166 w 11823056"/>
              <a:gd name="connsiteY163" fmla="*/ 1088364 h 1088769"/>
              <a:gd name="connsiteX164" fmla="*/ 7222855 w 11823056"/>
              <a:gd name="connsiteY164" fmla="*/ 744713 h 1088769"/>
              <a:gd name="connsiteX165" fmla="*/ 7222855 w 11823056"/>
              <a:gd name="connsiteY165" fmla="*/ 23735 h 1088769"/>
              <a:gd name="connsiteX166" fmla="*/ 8343950 w 11823056"/>
              <a:gd name="connsiteY166" fmla="*/ 23735 h 1088769"/>
              <a:gd name="connsiteX167" fmla="*/ 8166633 w 11823056"/>
              <a:gd name="connsiteY167" fmla="*/ 23735 h 1088769"/>
              <a:gd name="connsiteX168" fmla="*/ 8166633 w 11823056"/>
              <a:gd name="connsiteY168" fmla="*/ 1064832 h 1088769"/>
              <a:gd name="connsiteX169" fmla="*/ 8343950 w 11823056"/>
              <a:gd name="connsiteY169" fmla="*/ 1064832 h 1088769"/>
              <a:gd name="connsiteX170" fmla="*/ 8343950 w 11823056"/>
              <a:gd name="connsiteY170" fmla="*/ 584451 h 1088769"/>
              <a:gd name="connsiteX171" fmla="*/ 8492774 w 11823056"/>
              <a:gd name="connsiteY171" fmla="*/ 410393 h 1088769"/>
              <a:gd name="connsiteX172" fmla="*/ 8620483 w 11823056"/>
              <a:gd name="connsiteY172" fmla="*/ 556253 h 1088769"/>
              <a:gd name="connsiteX173" fmla="*/ 8620483 w 11823056"/>
              <a:gd name="connsiteY173" fmla="*/ 1064832 h 1088769"/>
              <a:gd name="connsiteX174" fmla="*/ 8797800 w 11823056"/>
              <a:gd name="connsiteY174" fmla="*/ 1064832 h 1088769"/>
              <a:gd name="connsiteX175" fmla="*/ 8797800 w 11823056"/>
              <a:gd name="connsiteY175" fmla="*/ 554630 h 1088769"/>
              <a:gd name="connsiteX176" fmla="*/ 8560421 w 11823056"/>
              <a:gd name="connsiteY176" fmla="*/ 306324 h 1088769"/>
              <a:gd name="connsiteX177" fmla="*/ 8352970 w 11823056"/>
              <a:gd name="connsiteY177" fmla="*/ 414856 h 1088769"/>
              <a:gd name="connsiteX178" fmla="*/ 8343950 w 11823056"/>
              <a:gd name="connsiteY178" fmla="*/ 414856 h 1088769"/>
              <a:gd name="connsiteX179" fmla="*/ 8343950 w 11823056"/>
              <a:gd name="connsiteY179" fmla="*/ 23735 h 1088769"/>
              <a:gd name="connsiteX180" fmla="*/ 5882214 w 11823056"/>
              <a:gd name="connsiteY180" fmla="*/ 980035 h 1088769"/>
              <a:gd name="connsiteX181" fmla="*/ 5649345 w 11823056"/>
              <a:gd name="connsiteY181" fmla="*/ 740656 h 1088769"/>
              <a:gd name="connsiteX182" fmla="*/ 5740976 w 11823056"/>
              <a:gd name="connsiteY182" fmla="*/ 551790 h 1088769"/>
              <a:gd name="connsiteX183" fmla="*/ 6080646 w 11823056"/>
              <a:gd name="connsiteY183" fmla="*/ 919176 h 1088769"/>
              <a:gd name="connsiteX184" fmla="*/ 5882214 w 11823056"/>
              <a:gd name="connsiteY184" fmla="*/ 980035 h 1088769"/>
              <a:gd name="connsiteX185" fmla="*/ 6212865 w 11823056"/>
              <a:gd name="connsiteY185" fmla="*/ 797052 h 1088769"/>
              <a:gd name="connsiteX186" fmla="*/ 5918293 w 11823056"/>
              <a:gd name="connsiteY186" fmla="*/ 475716 h 1088769"/>
              <a:gd name="connsiteX187" fmla="*/ 6064042 w 11823056"/>
              <a:gd name="connsiteY187" fmla="*/ 447518 h 1088769"/>
              <a:gd name="connsiteX188" fmla="*/ 6260833 w 11823056"/>
              <a:gd name="connsiteY188" fmla="*/ 638007 h 1088769"/>
              <a:gd name="connsiteX189" fmla="*/ 6212865 w 11823056"/>
              <a:gd name="connsiteY189" fmla="*/ 797052 h 1088769"/>
              <a:gd name="connsiteX190" fmla="*/ 5877705 w 11823056"/>
              <a:gd name="connsiteY190" fmla="*/ 432708 h 1088769"/>
              <a:gd name="connsiteX191" fmla="*/ 5813132 w 11823056"/>
              <a:gd name="connsiteY191" fmla="*/ 361300 h 1088769"/>
              <a:gd name="connsiteX192" fmla="*/ 5739541 w 11823056"/>
              <a:gd name="connsiteY192" fmla="*/ 214021 h 1088769"/>
              <a:gd name="connsiteX193" fmla="*/ 5882214 w 11823056"/>
              <a:gd name="connsiteY193" fmla="*/ 78711 h 1088769"/>
              <a:gd name="connsiteX194" fmla="*/ 6023453 w 11823056"/>
              <a:gd name="connsiteY194" fmla="*/ 221527 h 1088769"/>
              <a:gd name="connsiteX195" fmla="*/ 5877705 w 11823056"/>
              <a:gd name="connsiteY195" fmla="*/ 432708 h 1088769"/>
              <a:gd name="connsiteX196" fmla="*/ 5886724 w 11823056"/>
              <a:gd name="connsiteY196" fmla="*/ 0 h 1088769"/>
              <a:gd name="connsiteX197" fmla="*/ 5577188 w 11823056"/>
              <a:gd name="connsiteY197" fmla="*/ 257231 h 1088769"/>
              <a:gd name="connsiteX198" fmla="*/ 5697518 w 11823056"/>
              <a:gd name="connsiteY198" fmla="*/ 505537 h 1088769"/>
              <a:gd name="connsiteX199" fmla="*/ 5698952 w 11823056"/>
              <a:gd name="connsiteY199" fmla="*/ 508580 h 1088769"/>
              <a:gd name="connsiteX200" fmla="*/ 5484122 w 11823056"/>
              <a:gd name="connsiteY200" fmla="*/ 807601 h 1088769"/>
              <a:gd name="connsiteX201" fmla="*/ 5786279 w 11823056"/>
              <a:gd name="connsiteY201" fmla="*/ 1088770 h 1088769"/>
              <a:gd name="connsiteX202" fmla="*/ 6125949 w 11823056"/>
              <a:gd name="connsiteY202" fmla="*/ 968269 h 1088769"/>
              <a:gd name="connsiteX203" fmla="*/ 6216145 w 11823056"/>
              <a:gd name="connsiteY203" fmla="*/ 1065035 h 1088769"/>
              <a:gd name="connsiteX204" fmla="*/ 6452089 w 11823056"/>
              <a:gd name="connsiteY204" fmla="*/ 1065035 h 1088769"/>
              <a:gd name="connsiteX205" fmla="*/ 6452089 w 11823056"/>
              <a:gd name="connsiteY205" fmla="*/ 1057529 h 1088769"/>
              <a:gd name="connsiteX206" fmla="*/ 6259808 w 11823056"/>
              <a:gd name="connsiteY206" fmla="*/ 847768 h 1088769"/>
              <a:gd name="connsiteX207" fmla="*/ 6387517 w 11823056"/>
              <a:gd name="connsiteY207" fmla="*/ 557673 h 1088769"/>
              <a:gd name="connsiteX208" fmla="*/ 6190726 w 11823056"/>
              <a:gd name="connsiteY208" fmla="*/ 368806 h 1088769"/>
              <a:gd name="connsiteX209" fmla="*/ 6010334 w 11823056"/>
              <a:gd name="connsiteY209" fmla="*/ 404510 h 1088769"/>
              <a:gd name="connsiteX210" fmla="*/ 6007259 w 11823056"/>
              <a:gd name="connsiteY210" fmla="*/ 398627 h 1088769"/>
              <a:gd name="connsiteX211" fmla="*/ 6169612 w 11823056"/>
              <a:gd name="connsiteY211" fmla="*/ 202255 h 1088769"/>
              <a:gd name="connsiteX212" fmla="*/ 5886724 w 11823056"/>
              <a:gd name="connsiteY212" fmla="*/ 0 h 108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1823056" h="1088769">
                <a:moveTo>
                  <a:pt x="1169268" y="997887"/>
                </a:moveTo>
                <a:cubicBezTo>
                  <a:pt x="1053448" y="997887"/>
                  <a:pt x="988876" y="889355"/>
                  <a:pt x="988876" y="692983"/>
                </a:cubicBezTo>
                <a:cubicBezTo>
                  <a:pt x="988876" y="493568"/>
                  <a:pt x="1053448" y="388078"/>
                  <a:pt x="1169268" y="388078"/>
                </a:cubicBezTo>
                <a:cubicBezTo>
                  <a:pt x="1285088" y="388078"/>
                  <a:pt x="1349660" y="495191"/>
                  <a:pt x="1349660" y="692983"/>
                </a:cubicBezTo>
                <a:cubicBezTo>
                  <a:pt x="1349455" y="892398"/>
                  <a:pt x="1284883" y="997887"/>
                  <a:pt x="1169268" y="997887"/>
                </a:cubicBezTo>
                <a:moveTo>
                  <a:pt x="1169268" y="306324"/>
                </a:moveTo>
                <a:cubicBezTo>
                  <a:pt x="933324" y="306324"/>
                  <a:pt x="802539" y="480381"/>
                  <a:pt x="802539" y="692983"/>
                </a:cubicBezTo>
                <a:cubicBezTo>
                  <a:pt x="802539" y="905584"/>
                  <a:pt x="933324" y="1079641"/>
                  <a:pt x="1169268" y="1079641"/>
                </a:cubicBezTo>
                <a:cubicBezTo>
                  <a:pt x="1405213" y="1079641"/>
                  <a:pt x="1535997" y="905584"/>
                  <a:pt x="1535997" y="692983"/>
                </a:cubicBezTo>
                <a:cubicBezTo>
                  <a:pt x="1535997" y="480381"/>
                  <a:pt x="1405213" y="306324"/>
                  <a:pt x="1169268" y="306324"/>
                </a:cubicBezTo>
                <a:moveTo>
                  <a:pt x="2808786" y="306324"/>
                </a:moveTo>
                <a:cubicBezTo>
                  <a:pt x="2697476" y="306324"/>
                  <a:pt x="2635978" y="353997"/>
                  <a:pt x="2601335" y="414856"/>
                </a:cubicBezTo>
                <a:lnTo>
                  <a:pt x="2592315" y="414856"/>
                </a:lnTo>
                <a:lnTo>
                  <a:pt x="2592315" y="321133"/>
                </a:lnTo>
                <a:lnTo>
                  <a:pt x="2414998" y="321133"/>
                </a:lnTo>
                <a:lnTo>
                  <a:pt x="2414998" y="1064832"/>
                </a:lnTo>
                <a:lnTo>
                  <a:pt x="2592315" y="1064832"/>
                </a:lnTo>
                <a:lnTo>
                  <a:pt x="2592315" y="584451"/>
                </a:lnTo>
                <a:cubicBezTo>
                  <a:pt x="2592315" y="474498"/>
                  <a:pt x="2649508" y="410393"/>
                  <a:pt x="2741139" y="410393"/>
                </a:cubicBezTo>
                <a:cubicBezTo>
                  <a:pt x="2829900" y="410393"/>
                  <a:pt x="2868848" y="468413"/>
                  <a:pt x="2868848" y="556253"/>
                </a:cubicBezTo>
                <a:lnTo>
                  <a:pt x="2868848" y="1064832"/>
                </a:lnTo>
                <a:lnTo>
                  <a:pt x="3046165" y="1064832"/>
                </a:lnTo>
                <a:lnTo>
                  <a:pt x="3046165" y="554630"/>
                </a:lnTo>
                <a:cubicBezTo>
                  <a:pt x="3046370" y="401467"/>
                  <a:pt x="2965194" y="306324"/>
                  <a:pt x="2808786" y="306324"/>
                </a:cubicBezTo>
                <a:moveTo>
                  <a:pt x="3448972" y="306324"/>
                </a:moveTo>
                <a:cubicBezTo>
                  <a:pt x="3285185" y="306324"/>
                  <a:pt x="3161985" y="374689"/>
                  <a:pt x="3161985" y="520548"/>
                </a:cubicBezTo>
                <a:cubicBezTo>
                  <a:pt x="3161985" y="644093"/>
                  <a:pt x="3247671" y="711038"/>
                  <a:pt x="3343812" y="734773"/>
                </a:cubicBezTo>
                <a:lnTo>
                  <a:pt x="3494070" y="771897"/>
                </a:lnTo>
                <a:cubicBezTo>
                  <a:pt x="3573812" y="791169"/>
                  <a:pt x="3609890" y="819570"/>
                  <a:pt x="3609890" y="882052"/>
                </a:cubicBezTo>
                <a:cubicBezTo>
                  <a:pt x="3609890" y="957923"/>
                  <a:pt x="3555773" y="1001133"/>
                  <a:pt x="3461067" y="1001133"/>
                </a:cubicBezTo>
                <a:cubicBezTo>
                  <a:pt x="3358776" y="1001133"/>
                  <a:pt x="3306299" y="952040"/>
                  <a:pt x="3289694" y="828699"/>
                </a:cubicBezTo>
                <a:lnTo>
                  <a:pt x="3130416" y="873329"/>
                </a:lnTo>
                <a:cubicBezTo>
                  <a:pt x="3139436" y="1001336"/>
                  <a:pt x="3259766" y="1080047"/>
                  <a:pt x="3441593" y="1080047"/>
                </a:cubicBezTo>
                <a:cubicBezTo>
                  <a:pt x="3644534" y="1080047"/>
                  <a:pt x="3754204" y="986324"/>
                  <a:pt x="3754204" y="837625"/>
                </a:cubicBezTo>
                <a:cubicBezTo>
                  <a:pt x="3754204" y="697851"/>
                  <a:pt x="3656423" y="639832"/>
                  <a:pt x="3554338" y="614474"/>
                </a:cubicBezTo>
                <a:lnTo>
                  <a:pt x="3410024" y="578770"/>
                </a:lnTo>
                <a:cubicBezTo>
                  <a:pt x="3337867" y="560918"/>
                  <a:pt x="3306299" y="528257"/>
                  <a:pt x="3306299" y="480584"/>
                </a:cubicBezTo>
                <a:cubicBezTo>
                  <a:pt x="3306299" y="421145"/>
                  <a:pt x="3357341" y="385441"/>
                  <a:pt x="3434008" y="385441"/>
                </a:cubicBezTo>
                <a:cubicBezTo>
                  <a:pt x="3524204" y="385441"/>
                  <a:pt x="3579756" y="434534"/>
                  <a:pt x="3587341" y="528257"/>
                </a:cubicBezTo>
                <a:lnTo>
                  <a:pt x="3737599" y="483627"/>
                </a:lnTo>
                <a:cubicBezTo>
                  <a:pt x="3719560" y="379152"/>
                  <a:pt x="3615835" y="306324"/>
                  <a:pt x="3448972" y="306324"/>
                </a:cubicBezTo>
                <a:moveTo>
                  <a:pt x="4194524" y="997887"/>
                </a:moveTo>
                <a:cubicBezTo>
                  <a:pt x="4078704" y="997887"/>
                  <a:pt x="4014132" y="889355"/>
                  <a:pt x="4014132" y="692983"/>
                </a:cubicBezTo>
                <a:cubicBezTo>
                  <a:pt x="4014132" y="493568"/>
                  <a:pt x="4078704" y="388078"/>
                  <a:pt x="4194524" y="388078"/>
                </a:cubicBezTo>
                <a:cubicBezTo>
                  <a:pt x="4310344" y="388078"/>
                  <a:pt x="4374916" y="495191"/>
                  <a:pt x="4374916" y="692983"/>
                </a:cubicBezTo>
                <a:cubicBezTo>
                  <a:pt x="4374916" y="892398"/>
                  <a:pt x="4310139" y="997887"/>
                  <a:pt x="4194524" y="997887"/>
                </a:cubicBezTo>
                <a:moveTo>
                  <a:pt x="4194524" y="306324"/>
                </a:moveTo>
                <a:cubicBezTo>
                  <a:pt x="3958580" y="306324"/>
                  <a:pt x="3827796" y="480381"/>
                  <a:pt x="3827796" y="692983"/>
                </a:cubicBezTo>
                <a:cubicBezTo>
                  <a:pt x="3827796" y="905584"/>
                  <a:pt x="3958580" y="1079641"/>
                  <a:pt x="4194524" y="1079641"/>
                </a:cubicBezTo>
                <a:cubicBezTo>
                  <a:pt x="4430469" y="1079641"/>
                  <a:pt x="4561253" y="905584"/>
                  <a:pt x="4561253" y="692983"/>
                </a:cubicBezTo>
                <a:cubicBezTo>
                  <a:pt x="4561253" y="480381"/>
                  <a:pt x="4430469" y="306324"/>
                  <a:pt x="4194524" y="306324"/>
                </a:cubicBezTo>
                <a:moveTo>
                  <a:pt x="5060201" y="306324"/>
                </a:moveTo>
                <a:cubicBezTo>
                  <a:pt x="4948891" y="306324"/>
                  <a:pt x="4887394" y="353997"/>
                  <a:pt x="4852750" y="414856"/>
                </a:cubicBezTo>
                <a:lnTo>
                  <a:pt x="4843731" y="414856"/>
                </a:lnTo>
                <a:lnTo>
                  <a:pt x="4843731" y="321133"/>
                </a:lnTo>
                <a:lnTo>
                  <a:pt x="4666414" y="321133"/>
                </a:lnTo>
                <a:lnTo>
                  <a:pt x="4666414" y="1064832"/>
                </a:lnTo>
                <a:lnTo>
                  <a:pt x="4843731" y="1064832"/>
                </a:lnTo>
                <a:lnTo>
                  <a:pt x="4843731" y="584451"/>
                </a:lnTo>
                <a:cubicBezTo>
                  <a:pt x="4843731" y="474498"/>
                  <a:pt x="4900923" y="410393"/>
                  <a:pt x="4992554" y="410393"/>
                </a:cubicBezTo>
                <a:cubicBezTo>
                  <a:pt x="5081315" y="410393"/>
                  <a:pt x="5120263" y="468413"/>
                  <a:pt x="5120263" y="556253"/>
                </a:cubicBezTo>
                <a:lnTo>
                  <a:pt x="5120263" y="1064832"/>
                </a:lnTo>
                <a:lnTo>
                  <a:pt x="5297580" y="1064832"/>
                </a:lnTo>
                <a:lnTo>
                  <a:pt x="5297580" y="554630"/>
                </a:lnTo>
                <a:cubicBezTo>
                  <a:pt x="5297580" y="401467"/>
                  <a:pt x="5216404" y="306324"/>
                  <a:pt x="5060201" y="306324"/>
                </a:cubicBezTo>
                <a:moveTo>
                  <a:pt x="7694744" y="997887"/>
                </a:moveTo>
                <a:cubicBezTo>
                  <a:pt x="7578925" y="997887"/>
                  <a:pt x="7514353" y="889355"/>
                  <a:pt x="7514353" y="692983"/>
                </a:cubicBezTo>
                <a:cubicBezTo>
                  <a:pt x="7514353" y="493568"/>
                  <a:pt x="7578925" y="388078"/>
                  <a:pt x="7694744" y="388078"/>
                </a:cubicBezTo>
                <a:cubicBezTo>
                  <a:pt x="7810564" y="388078"/>
                  <a:pt x="7875136" y="495191"/>
                  <a:pt x="7875136" y="692983"/>
                </a:cubicBezTo>
                <a:cubicBezTo>
                  <a:pt x="7875136" y="892398"/>
                  <a:pt x="7810359" y="997887"/>
                  <a:pt x="7694744" y="997887"/>
                </a:cubicBezTo>
                <a:moveTo>
                  <a:pt x="7694744" y="306324"/>
                </a:moveTo>
                <a:cubicBezTo>
                  <a:pt x="7458800" y="306324"/>
                  <a:pt x="7328015" y="480381"/>
                  <a:pt x="7328015" y="692983"/>
                </a:cubicBezTo>
                <a:cubicBezTo>
                  <a:pt x="7328015" y="905584"/>
                  <a:pt x="7458800" y="1079641"/>
                  <a:pt x="7694744" y="1079641"/>
                </a:cubicBezTo>
                <a:cubicBezTo>
                  <a:pt x="7930689" y="1079641"/>
                  <a:pt x="8061473" y="905584"/>
                  <a:pt x="8061473" y="692983"/>
                </a:cubicBezTo>
                <a:cubicBezTo>
                  <a:pt x="8061473" y="480381"/>
                  <a:pt x="7930689" y="306324"/>
                  <a:pt x="7694744" y="306324"/>
                </a:cubicBezTo>
                <a:moveTo>
                  <a:pt x="9334262" y="306324"/>
                </a:moveTo>
                <a:cubicBezTo>
                  <a:pt x="9222951" y="306324"/>
                  <a:pt x="9161454" y="353997"/>
                  <a:pt x="9126810" y="414856"/>
                </a:cubicBezTo>
                <a:lnTo>
                  <a:pt x="9117791" y="414856"/>
                </a:lnTo>
                <a:lnTo>
                  <a:pt x="9117791" y="321133"/>
                </a:lnTo>
                <a:lnTo>
                  <a:pt x="8940474" y="321133"/>
                </a:lnTo>
                <a:lnTo>
                  <a:pt x="8940474" y="1064832"/>
                </a:lnTo>
                <a:lnTo>
                  <a:pt x="9117791" y="1064832"/>
                </a:lnTo>
                <a:lnTo>
                  <a:pt x="9117791" y="584451"/>
                </a:lnTo>
                <a:cubicBezTo>
                  <a:pt x="9117791" y="474498"/>
                  <a:pt x="9174983" y="410393"/>
                  <a:pt x="9266614" y="410393"/>
                </a:cubicBezTo>
                <a:cubicBezTo>
                  <a:pt x="9355376" y="410393"/>
                  <a:pt x="9394324" y="468413"/>
                  <a:pt x="9394324" y="556253"/>
                </a:cubicBezTo>
                <a:lnTo>
                  <a:pt x="9394324" y="1064832"/>
                </a:lnTo>
                <a:lnTo>
                  <a:pt x="9571641" y="1064832"/>
                </a:lnTo>
                <a:lnTo>
                  <a:pt x="9571641" y="554630"/>
                </a:lnTo>
                <a:cubicBezTo>
                  <a:pt x="9571846" y="401467"/>
                  <a:pt x="9490669" y="306324"/>
                  <a:pt x="9334262" y="306324"/>
                </a:cubicBezTo>
                <a:moveTo>
                  <a:pt x="9974653" y="306324"/>
                </a:moveTo>
                <a:cubicBezTo>
                  <a:pt x="9810865" y="306324"/>
                  <a:pt x="9687666" y="374689"/>
                  <a:pt x="9687666" y="520548"/>
                </a:cubicBezTo>
                <a:cubicBezTo>
                  <a:pt x="9687666" y="644093"/>
                  <a:pt x="9773352" y="711038"/>
                  <a:pt x="9869493" y="734773"/>
                </a:cubicBezTo>
                <a:lnTo>
                  <a:pt x="10019751" y="771897"/>
                </a:lnTo>
                <a:cubicBezTo>
                  <a:pt x="10099492" y="791169"/>
                  <a:pt x="10135571" y="819570"/>
                  <a:pt x="10135571" y="882052"/>
                </a:cubicBezTo>
                <a:cubicBezTo>
                  <a:pt x="10135571" y="957923"/>
                  <a:pt x="10081453" y="1001133"/>
                  <a:pt x="9986747" y="1001133"/>
                </a:cubicBezTo>
                <a:cubicBezTo>
                  <a:pt x="9884457" y="1001133"/>
                  <a:pt x="9831980" y="952040"/>
                  <a:pt x="9815375" y="828699"/>
                </a:cubicBezTo>
                <a:lnTo>
                  <a:pt x="9656097" y="873329"/>
                </a:lnTo>
                <a:cubicBezTo>
                  <a:pt x="9665117" y="1001336"/>
                  <a:pt x="9785446" y="1080047"/>
                  <a:pt x="9967273" y="1080047"/>
                </a:cubicBezTo>
                <a:cubicBezTo>
                  <a:pt x="10170215" y="1080047"/>
                  <a:pt x="10279884" y="986324"/>
                  <a:pt x="10279884" y="837625"/>
                </a:cubicBezTo>
                <a:cubicBezTo>
                  <a:pt x="10279884" y="697851"/>
                  <a:pt x="10182104" y="639832"/>
                  <a:pt x="10080018" y="614474"/>
                </a:cubicBezTo>
                <a:lnTo>
                  <a:pt x="9935705" y="578770"/>
                </a:lnTo>
                <a:cubicBezTo>
                  <a:pt x="9863548" y="560918"/>
                  <a:pt x="9831980" y="528257"/>
                  <a:pt x="9831980" y="480584"/>
                </a:cubicBezTo>
                <a:cubicBezTo>
                  <a:pt x="9831980" y="421145"/>
                  <a:pt x="9883022" y="385441"/>
                  <a:pt x="9959688" y="385441"/>
                </a:cubicBezTo>
                <a:cubicBezTo>
                  <a:pt x="10049884" y="385441"/>
                  <a:pt x="10105437" y="434534"/>
                  <a:pt x="10113022" y="528257"/>
                </a:cubicBezTo>
                <a:lnTo>
                  <a:pt x="10263280" y="483627"/>
                </a:lnTo>
                <a:cubicBezTo>
                  <a:pt x="10245036" y="379152"/>
                  <a:pt x="10141311" y="306324"/>
                  <a:pt x="9974653" y="306324"/>
                </a:cubicBezTo>
                <a:moveTo>
                  <a:pt x="10720000" y="997887"/>
                </a:moveTo>
                <a:cubicBezTo>
                  <a:pt x="10604180" y="997887"/>
                  <a:pt x="10539607" y="889355"/>
                  <a:pt x="10539607" y="692983"/>
                </a:cubicBezTo>
                <a:cubicBezTo>
                  <a:pt x="10539607" y="493568"/>
                  <a:pt x="10604180" y="388078"/>
                  <a:pt x="10720000" y="388078"/>
                </a:cubicBezTo>
                <a:cubicBezTo>
                  <a:pt x="10835819" y="388078"/>
                  <a:pt x="10900392" y="495191"/>
                  <a:pt x="10900392" y="692983"/>
                </a:cubicBezTo>
                <a:cubicBezTo>
                  <a:pt x="10900392" y="892398"/>
                  <a:pt x="10835614" y="997887"/>
                  <a:pt x="10720000" y="997887"/>
                </a:cubicBezTo>
                <a:moveTo>
                  <a:pt x="10720000" y="306324"/>
                </a:moveTo>
                <a:cubicBezTo>
                  <a:pt x="10484056" y="306324"/>
                  <a:pt x="10353271" y="480381"/>
                  <a:pt x="10353271" y="692983"/>
                </a:cubicBezTo>
                <a:cubicBezTo>
                  <a:pt x="10353271" y="905584"/>
                  <a:pt x="10484056" y="1079641"/>
                  <a:pt x="10720000" y="1079641"/>
                </a:cubicBezTo>
                <a:cubicBezTo>
                  <a:pt x="10955945" y="1079641"/>
                  <a:pt x="11086728" y="905584"/>
                  <a:pt x="11086728" y="692983"/>
                </a:cubicBezTo>
                <a:cubicBezTo>
                  <a:pt x="11086728" y="480381"/>
                  <a:pt x="10955945" y="306324"/>
                  <a:pt x="10720000" y="306324"/>
                </a:cubicBezTo>
                <a:moveTo>
                  <a:pt x="11585677" y="306324"/>
                </a:moveTo>
                <a:cubicBezTo>
                  <a:pt x="11474367" y="306324"/>
                  <a:pt x="11412869" y="353997"/>
                  <a:pt x="11378226" y="414856"/>
                </a:cubicBezTo>
                <a:lnTo>
                  <a:pt x="11369206" y="414856"/>
                </a:lnTo>
                <a:lnTo>
                  <a:pt x="11369206" y="321133"/>
                </a:lnTo>
                <a:lnTo>
                  <a:pt x="11191889" y="321133"/>
                </a:lnTo>
                <a:lnTo>
                  <a:pt x="11191889" y="1064832"/>
                </a:lnTo>
                <a:lnTo>
                  <a:pt x="11369206" y="1064832"/>
                </a:lnTo>
                <a:lnTo>
                  <a:pt x="11369206" y="584451"/>
                </a:lnTo>
                <a:cubicBezTo>
                  <a:pt x="11369206" y="474498"/>
                  <a:pt x="11426398" y="410393"/>
                  <a:pt x="11518030" y="410393"/>
                </a:cubicBezTo>
                <a:cubicBezTo>
                  <a:pt x="11606791" y="410393"/>
                  <a:pt x="11645739" y="468413"/>
                  <a:pt x="11645739" y="556253"/>
                </a:cubicBezTo>
                <a:lnTo>
                  <a:pt x="11645739" y="1064832"/>
                </a:lnTo>
                <a:lnTo>
                  <a:pt x="11823056" y="1064832"/>
                </a:lnTo>
                <a:lnTo>
                  <a:pt x="11823056" y="554630"/>
                </a:lnTo>
                <a:cubicBezTo>
                  <a:pt x="11823056" y="401467"/>
                  <a:pt x="11741880" y="306324"/>
                  <a:pt x="11585677" y="306324"/>
                </a:cubicBezTo>
                <a:moveTo>
                  <a:pt x="697379" y="23735"/>
                </a:moveTo>
                <a:lnTo>
                  <a:pt x="511042" y="23735"/>
                </a:lnTo>
                <a:lnTo>
                  <a:pt x="511042" y="792589"/>
                </a:lnTo>
                <a:cubicBezTo>
                  <a:pt x="511042" y="917553"/>
                  <a:pt x="462869" y="991801"/>
                  <a:pt x="348690" y="991801"/>
                </a:cubicBezTo>
                <a:cubicBezTo>
                  <a:pt x="235945" y="991801"/>
                  <a:pt x="186337" y="912887"/>
                  <a:pt x="186337" y="777577"/>
                </a:cubicBezTo>
                <a:lnTo>
                  <a:pt x="186337" y="634761"/>
                </a:lnTo>
                <a:lnTo>
                  <a:pt x="0" y="680811"/>
                </a:lnTo>
                <a:lnTo>
                  <a:pt x="0" y="744713"/>
                </a:lnTo>
                <a:cubicBezTo>
                  <a:pt x="0" y="939462"/>
                  <a:pt x="97781" y="1088364"/>
                  <a:pt x="348690" y="1088364"/>
                </a:cubicBezTo>
                <a:cubicBezTo>
                  <a:pt x="599598" y="1088364"/>
                  <a:pt x="697379" y="939665"/>
                  <a:pt x="697379" y="744713"/>
                </a:cubicBezTo>
                <a:lnTo>
                  <a:pt x="697379" y="23735"/>
                </a:lnTo>
                <a:moveTo>
                  <a:pt x="1818474" y="23735"/>
                </a:moveTo>
                <a:lnTo>
                  <a:pt x="1641157" y="23735"/>
                </a:lnTo>
                <a:lnTo>
                  <a:pt x="1641157" y="1064832"/>
                </a:lnTo>
                <a:lnTo>
                  <a:pt x="1818474" y="1064832"/>
                </a:lnTo>
                <a:lnTo>
                  <a:pt x="1818474" y="584451"/>
                </a:lnTo>
                <a:cubicBezTo>
                  <a:pt x="1818474" y="474498"/>
                  <a:pt x="1875667" y="410393"/>
                  <a:pt x="1967298" y="410393"/>
                </a:cubicBezTo>
                <a:cubicBezTo>
                  <a:pt x="2056059" y="410393"/>
                  <a:pt x="2095007" y="468413"/>
                  <a:pt x="2095007" y="556253"/>
                </a:cubicBezTo>
                <a:lnTo>
                  <a:pt x="2095007" y="1064832"/>
                </a:lnTo>
                <a:lnTo>
                  <a:pt x="2272324" y="1064832"/>
                </a:lnTo>
                <a:lnTo>
                  <a:pt x="2272324" y="554630"/>
                </a:lnTo>
                <a:cubicBezTo>
                  <a:pt x="2272324" y="401467"/>
                  <a:pt x="2191148" y="306324"/>
                  <a:pt x="2034945" y="306324"/>
                </a:cubicBezTo>
                <a:cubicBezTo>
                  <a:pt x="1923635" y="306324"/>
                  <a:pt x="1862138" y="353997"/>
                  <a:pt x="1827494" y="414856"/>
                </a:cubicBezTo>
                <a:lnTo>
                  <a:pt x="1818474" y="414856"/>
                </a:lnTo>
                <a:lnTo>
                  <a:pt x="1818474" y="23735"/>
                </a:lnTo>
                <a:moveTo>
                  <a:pt x="7222855" y="23735"/>
                </a:moveTo>
                <a:lnTo>
                  <a:pt x="7036518" y="23735"/>
                </a:lnTo>
                <a:lnTo>
                  <a:pt x="7036518" y="792589"/>
                </a:lnTo>
                <a:cubicBezTo>
                  <a:pt x="7036518" y="917553"/>
                  <a:pt x="6988346" y="991801"/>
                  <a:pt x="6874166" y="991801"/>
                </a:cubicBezTo>
                <a:cubicBezTo>
                  <a:pt x="6761421" y="991801"/>
                  <a:pt x="6711813" y="912887"/>
                  <a:pt x="6711813" y="777577"/>
                </a:cubicBezTo>
                <a:lnTo>
                  <a:pt x="6711813" y="634761"/>
                </a:lnTo>
                <a:lnTo>
                  <a:pt x="6525476" y="680811"/>
                </a:lnTo>
                <a:lnTo>
                  <a:pt x="6525476" y="744713"/>
                </a:lnTo>
                <a:cubicBezTo>
                  <a:pt x="6525476" y="939462"/>
                  <a:pt x="6623257" y="1088364"/>
                  <a:pt x="6874166" y="1088364"/>
                </a:cubicBezTo>
                <a:cubicBezTo>
                  <a:pt x="7125074" y="1088364"/>
                  <a:pt x="7222855" y="939665"/>
                  <a:pt x="7222855" y="744713"/>
                </a:cubicBezTo>
                <a:lnTo>
                  <a:pt x="7222855" y="23735"/>
                </a:lnTo>
                <a:moveTo>
                  <a:pt x="8343950" y="23735"/>
                </a:moveTo>
                <a:lnTo>
                  <a:pt x="8166633" y="23735"/>
                </a:lnTo>
                <a:lnTo>
                  <a:pt x="8166633" y="1064832"/>
                </a:lnTo>
                <a:lnTo>
                  <a:pt x="8343950" y="1064832"/>
                </a:lnTo>
                <a:lnTo>
                  <a:pt x="8343950" y="584451"/>
                </a:lnTo>
                <a:cubicBezTo>
                  <a:pt x="8343950" y="474498"/>
                  <a:pt x="8401143" y="410393"/>
                  <a:pt x="8492774" y="410393"/>
                </a:cubicBezTo>
                <a:cubicBezTo>
                  <a:pt x="8581535" y="410393"/>
                  <a:pt x="8620483" y="468413"/>
                  <a:pt x="8620483" y="556253"/>
                </a:cubicBezTo>
                <a:lnTo>
                  <a:pt x="8620483" y="1064832"/>
                </a:lnTo>
                <a:lnTo>
                  <a:pt x="8797800" y="1064832"/>
                </a:lnTo>
                <a:lnTo>
                  <a:pt x="8797800" y="554630"/>
                </a:lnTo>
                <a:cubicBezTo>
                  <a:pt x="8797800" y="401467"/>
                  <a:pt x="8716624" y="306324"/>
                  <a:pt x="8560421" y="306324"/>
                </a:cubicBezTo>
                <a:cubicBezTo>
                  <a:pt x="8449110" y="306324"/>
                  <a:pt x="8387613" y="353997"/>
                  <a:pt x="8352970" y="414856"/>
                </a:cubicBezTo>
                <a:lnTo>
                  <a:pt x="8343950" y="414856"/>
                </a:lnTo>
                <a:lnTo>
                  <a:pt x="8343950" y="23735"/>
                </a:lnTo>
                <a:moveTo>
                  <a:pt x="5882214" y="980035"/>
                </a:moveTo>
                <a:cubicBezTo>
                  <a:pt x="5737901" y="980035"/>
                  <a:pt x="5649345" y="863997"/>
                  <a:pt x="5649345" y="740656"/>
                </a:cubicBezTo>
                <a:cubicBezTo>
                  <a:pt x="5649345" y="663365"/>
                  <a:pt x="5683988" y="591957"/>
                  <a:pt x="5740976" y="551790"/>
                </a:cubicBezTo>
                <a:lnTo>
                  <a:pt x="6080646" y="919176"/>
                </a:lnTo>
                <a:cubicBezTo>
                  <a:pt x="6017508" y="956300"/>
                  <a:pt x="5946787" y="980035"/>
                  <a:pt x="5882214" y="980035"/>
                </a:cubicBezTo>
                <a:moveTo>
                  <a:pt x="6212865" y="797052"/>
                </a:moveTo>
                <a:lnTo>
                  <a:pt x="5918293" y="475716"/>
                </a:lnTo>
                <a:cubicBezTo>
                  <a:pt x="5970976" y="454821"/>
                  <a:pt x="6022018" y="447518"/>
                  <a:pt x="6064042" y="447518"/>
                </a:cubicBezTo>
                <a:cubicBezTo>
                  <a:pt x="6185806" y="447518"/>
                  <a:pt x="6260833" y="517506"/>
                  <a:pt x="6260833" y="638007"/>
                </a:cubicBezTo>
                <a:cubicBezTo>
                  <a:pt x="6261038" y="691563"/>
                  <a:pt x="6245869" y="746539"/>
                  <a:pt x="6212865" y="797052"/>
                </a:cubicBezTo>
                <a:moveTo>
                  <a:pt x="5877705" y="432708"/>
                </a:moveTo>
                <a:lnTo>
                  <a:pt x="5813132" y="361300"/>
                </a:lnTo>
                <a:cubicBezTo>
                  <a:pt x="5755940" y="298818"/>
                  <a:pt x="5739541" y="260071"/>
                  <a:pt x="5739541" y="214021"/>
                </a:cubicBezTo>
                <a:cubicBezTo>
                  <a:pt x="5739541" y="127804"/>
                  <a:pt x="5795093" y="78711"/>
                  <a:pt x="5882214" y="78711"/>
                </a:cubicBezTo>
                <a:cubicBezTo>
                  <a:pt x="5970976" y="78711"/>
                  <a:pt x="6023453" y="129224"/>
                  <a:pt x="6023453" y="221527"/>
                </a:cubicBezTo>
                <a:cubicBezTo>
                  <a:pt x="6023453" y="306324"/>
                  <a:pt x="5981430" y="386658"/>
                  <a:pt x="5877705" y="432708"/>
                </a:cubicBezTo>
                <a:moveTo>
                  <a:pt x="5886724" y="0"/>
                </a:moveTo>
                <a:cubicBezTo>
                  <a:pt x="5679273" y="0"/>
                  <a:pt x="5577188" y="114618"/>
                  <a:pt x="5577188" y="257231"/>
                </a:cubicBezTo>
                <a:cubicBezTo>
                  <a:pt x="5577188" y="334522"/>
                  <a:pt x="5610192" y="412016"/>
                  <a:pt x="5697518" y="505537"/>
                </a:cubicBezTo>
                <a:lnTo>
                  <a:pt x="5698952" y="508580"/>
                </a:lnTo>
                <a:cubicBezTo>
                  <a:pt x="5551769" y="578568"/>
                  <a:pt x="5484122" y="691563"/>
                  <a:pt x="5484122" y="807601"/>
                </a:cubicBezTo>
                <a:cubicBezTo>
                  <a:pt x="5484122" y="960763"/>
                  <a:pt x="5602812" y="1088770"/>
                  <a:pt x="5786279" y="1088770"/>
                </a:cubicBezTo>
                <a:cubicBezTo>
                  <a:pt x="5891439" y="1088770"/>
                  <a:pt x="6014639" y="1045560"/>
                  <a:pt x="6125949" y="968269"/>
                </a:cubicBezTo>
                <a:lnTo>
                  <a:pt x="6216145" y="1065035"/>
                </a:lnTo>
                <a:lnTo>
                  <a:pt x="6452089" y="1065035"/>
                </a:lnTo>
                <a:lnTo>
                  <a:pt x="6452089" y="1057529"/>
                </a:lnTo>
                <a:lnTo>
                  <a:pt x="6259808" y="847768"/>
                </a:lnTo>
                <a:cubicBezTo>
                  <a:pt x="6340984" y="752625"/>
                  <a:pt x="6387517" y="648556"/>
                  <a:pt x="6387517" y="557673"/>
                </a:cubicBezTo>
                <a:cubicBezTo>
                  <a:pt x="6387517" y="444677"/>
                  <a:pt x="6310850" y="368806"/>
                  <a:pt x="6190726" y="368806"/>
                </a:cubicBezTo>
                <a:cubicBezTo>
                  <a:pt x="6127588" y="368806"/>
                  <a:pt x="6056867" y="386658"/>
                  <a:pt x="6010334" y="404510"/>
                </a:cubicBezTo>
                <a:lnTo>
                  <a:pt x="6007259" y="398627"/>
                </a:lnTo>
                <a:cubicBezTo>
                  <a:pt x="6121439" y="337565"/>
                  <a:pt x="6169612" y="281169"/>
                  <a:pt x="6169612" y="202255"/>
                </a:cubicBezTo>
                <a:cubicBezTo>
                  <a:pt x="6169202" y="89260"/>
                  <a:pt x="6067117" y="0"/>
                  <a:pt x="5886724" y="0"/>
                </a:cubicBezTo>
              </a:path>
            </a:pathLst>
          </a:custGeom>
          <a:solidFill>
            <a:schemeClr val="bg1"/>
          </a:solidFill>
          <a:ln w="2048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5482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01AEC0-BFFC-6E48-90A3-3CB0786728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197210F-053D-2142-8E11-1F8D25C47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A4E5312-243B-6A4E-AA38-ECD1CEF50C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076740"/>
            <a:ext cx="10984177" cy="4806271"/>
          </a:xfrm>
        </p:spPr>
        <p:txBody>
          <a:bodyPr/>
          <a:lstStyle>
            <a:lvl1pPr>
              <a:defRPr sz="2000"/>
            </a:lvl1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6502925-5610-F248-BF95-F854B07CC3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547016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355" y="6238860"/>
            <a:ext cx="12200710" cy="6191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42" b="16044"/>
          <a:stretch/>
        </p:blipFill>
        <p:spPr>
          <a:xfrm>
            <a:off x="8705850" y="6238860"/>
            <a:ext cx="2816924" cy="61914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82644" y="647148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0" name="Copyright" hidden="1"/>
          <p:cNvSpPr txBox="1"/>
          <p:nvPr userDrawn="1"/>
        </p:nvSpPr>
        <p:spPr>
          <a:xfrm rot="16200000">
            <a:off x="9486900" y="360281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Copyright © 2-18 by The Boston Consulting Group, Inc. All rights reserved.</a:t>
            </a:r>
          </a:p>
        </p:txBody>
      </p:sp>
      <p:sp>
        <p:nvSpPr>
          <p:cNvPr id="6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99103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2-181-19_JRD Strategic Initiatives Ramp Up.pptx</a:t>
            </a:r>
          </a:p>
        </p:txBody>
      </p:sp>
    </p:spTree>
    <p:extLst>
      <p:ext uri="{BB962C8B-B14F-4D97-AF65-F5344CB8AC3E}">
        <p14:creationId xmlns:p14="http://schemas.microsoft.com/office/powerpoint/2010/main" val="2406997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338918" y="1729526"/>
            <a:ext cx="7247715" cy="4153064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01928" y="1729526"/>
            <a:ext cx="3512873" cy="415306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8C8F6ED-C3BA-407C-9860-C4E2573D7A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6B6F339-5C44-9A4A-BF8A-F9B91C71E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04260DA-F09A-E940-8305-77C1AD5CD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825919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80C8231-7B8C-0F4F-A787-491646ADC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9907C00-9B28-4F43-92BC-2EA6BC865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C642790-D690-4443-BC0C-C44E39020B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882534"/>
            <a:ext cx="10981267" cy="30707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spc="-83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  <a:lvl2pPr>
              <a:defRPr sz="2083"/>
            </a:lvl2pPr>
            <a:lvl3pPr>
              <a:defRPr sz="2083"/>
            </a:lvl3pPr>
            <a:lvl4pPr>
              <a:defRPr sz="2083"/>
            </a:lvl4pPr>
            <a:lvl5pPr>
              <a:defRPr sz="2083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371FD49-BED0-9340-ADD8-459F51C381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729946"/>
            <a:ext cx="10984177" cy="41530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F562656-A4F1-614A-A820-8D21234DF8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5622390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22B73-AE43-E79E-B865-B943EA1072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D6517D-BC7C-9FBC-F8B6-AC1C74EA49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617BB0-ED8C-C9D0-1E65-8CD8874C7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88AD4-1985-A404-2478-3E0FF42E1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78A1A-418D-4150-E7B7-AF110C107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B8DEFD4-DFA9-7149-9F69-ACD713F17608}" type="slidenum">
              <a:rPr kumimoji="0" lang="en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2091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F9077-2AAA-701B-7103-3EE8D1397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4F2F81-59A9-593E-FF48-14EA87353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38952-875E-78B9-AB72-8CCC8EBB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6447F-022B-4400-8D6B-8FE8C8E54DA7}" type="datetimeFigureOut">
              <a:rPr kumimoji="0" lang="nl-B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05/2025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86DD99-DC78-B14D-FCEC-B6E1C6691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7CCE0-BEED-AE2D-89C3-5B3C64C0C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E4FEF86-117C-4E52-A7FC-1C492FBCEFDF}" type="slidenum">
              <a:rPr kumimoji="0" lang="nl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8754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6" y="262670"/>
            <a:ext cx="8676632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42D80B8-9D94-A4FE-A104-C937BDCF89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FC18C372-E3E1-FE2B-B432-BD1E63E9A760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9559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5" y="261082"/>
            <a:ext cx="8676633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A32A6B3-A100-17C8-83CF-514F06C3D0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0C91DE01-8580-80A7-12D8-EA90EF5CA36F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0781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266955"/>
            <a:ext cx="5734050" cy="3482172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1BD3F77-9A53-CD01-DCF8-3C90891AE6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1457E6FC-210A-4A04-1640-ED8A61457C29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0137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Panel Images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2805BBD-74C7-DA61-6F6B-3B684DEF9D0F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CA0C032-7A97-1BEF-7516-760655826D94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76E2EBF3-E47D-58C8-6929-CAE0CAEF8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597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2800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ACC64B1C-0B76-B49C-E8DA-EBD2AFAFA613}"/>
              </a:ext>
            </a:extLst>
          </p:cNvPr>
          <p:cNvSpPr>
            <a:spLocks noChangeAspect="1"/>
          </p:cNvSpPr>
          <p:nvPr/>
        </p:nvSpPr>
        <p:spPr>
          <a:xfrm>
            <a:off x="287338" y="2269434"/>
            <a:ext cx="11608421" cy="4331774"/>
          </a:xfrm>
          <a:custGeom>
            <a:avLst/>
            <a:gdLst>
              <a:gd name="connsiteX0" fmla="*/ 9940695 w 12886034"/>
              <a:gd name="connsiteY0" fmla="*/ 2142364 h 4808525"/>
              <a:gd name="connsiteX1" fmla="*/ 9940695 w 12886034"/>
              <a:gd name="connsiteY1" fmla="*/ 1153823 h 4808525"/>
              <a:gd name="connsiteX2" fmla="*/ 10243112 w 12886034"/>
              <a:gd name="connsiteY2" fmla="*/ 795655 h 4808525"/>
              <a:gd name="connsiteX3" fmla="*/ 10502975 w 12886034"/>
              <a:gd name="connsiteY3" fmla="*/ 1095467 h 4808525"/>
              <a:gd name="connsiteX4" fmla="*/ 10502975 w 12886034"/>
              <a:gd name="connsiteY4" fmla="*/ 2142364 h 4808525"/>
              <a:gd name="connsiteX5" fmla="*/ 10863643 w 12886034"/>
              <a:gd name="connsiteY5" fmla="*/ 2142364 h 4808525"/>
              <a:gd name="connsiteX6" fmla="*/ 10863643 w 12886034"/>
              <a:gd name="connsiteY6" fmla="*/ 1092672 h 4808525"/>
              <a:gd name="connsiteX7" fmla="*/ 10380892 w 12886034"/>
              <a:gd name="connsiteY7" fmla="*/ 581454 h 4808525"/>
              <a:gd name="connsiteX8" fmla="*/ 9959182 w 12886034"/>
              <a:gd name="connsiteY8" fmla="*/ 804741 h 4808525"/>
              <a:gd name="connsiteX9" fmla="*/ 9940695 w 12886034"/>
              <a:gd name="connsiteY9" fmla="*/ 804741 h 4808525"/>
              <a:gd name="connsiteX10" fmla="*/ 9940695 w 12886034"/>
              <a:gd name="connsiteY10" fmla="*/ 611854 h 4808525"/>
              <a:gd name="connsiteX11" fmla="*/ 9580028 w 12886034"/>
              <a:gd name="connsiteY11" fmla="*/ 611854 h 4808525"/>
              <a:gd name="connsiteX12" fmla="*/ 9580028 w 12886034"/>
              <a:gd name="connsiteY12" fmla="*/ 2142015 h 4808525"/>
              <a:gd name="connsiteX13" fmla="*/ 9940695 w 12886034"/>
              <a:gd name="connsiteY13" fmla="*/ 2142015 h 4808525"/>
              <a:gd name="connsiteX14" fmla="*/ 8620803 w 12886034"/>
              <a:gd name="connsiteY14" fmla="*/ 2004688 h 4808525"/>
              <a:gd name="connsiteX15" fmla="*/ 8254206 w 12886034"/>
              <a:gd name="connsiteY15" fmla="*/ 1377109 h 4808525"/>
              <a:gd name="connsiteX16" fmla="*/ 8620803 w 12886034"/>
              <a:gd name="connsiteY16" fmla="*/ 749530 h 4808525"/>
              <a:gd name="connsiteX17" fmla="*/ 8987401 w 12886034"/>
              <a:gd name="connsiteY17" fmla="*/ 1377109 h 4808525"/>
              <a:gd name="connsiteX18" fmla="*/ 8620803 w 12886034"/>
              <a:gd name="connsiteY18" fmla="*/ 2004688 h 4808525"/>
              <a:gd name="connsiteX19" fmla="*/ 8620803 w 12886034"/>
              <a:gd name="connsiteY19" fmla="*/ 2173114 h 4808525"/>
              <a:gd name="connsiteX20" fmla="*/ 9366208 w 12886034"/>
              <a:gd name="connsiteY20" fmla="*/ 1377459 h 4808525"/>
              <a:gd name="connsiteX21" fmla="*/ 8620803 w 12886034"/>
              <a:gd name="connsiteY21" fmla="*/ 581803 h 4808525"/>
              <a:gd name="connsiteX22" fmla="*/ 7875400 w 12886034"/>
              <a:gd name="connsiteY22" fmla="*/ 1377459 h 4808525"/>
              <a:gd name="connsiteX23" fmla="*/ 8620803 w 12886034"/>
              <a:gd name="connsiteY23" fmla="*/ 2173114 h 4808525"/>
              <a:gd name="connsiteX24" fmla="*/ 7090232 w 12886034"/>
              <a:gd name="connsiteY24" fmla="*/ 2173114 h 4808525"/>
              <a:gd name="connsiteX25" fmla="*/ 7725761 w 12886034"/>
              <a:gd name="connsiteY25" fmla="*/ 1674126 h 4808525"/>
              <a:gd name="connsiteX26" fmla="*/ 7319399 w 12886034"/>
              <a:gd name="connsiteY26" fmla="*/ 1214973 h 4808525"/>
              <a:gd name="connsiteX27" fmla="*/ 7026051 w 12886034"/>
              <a:gd name="connsiteY27" fmla="*/ 1141592 h 4808525"/>
              <a:gd name="connsiteX28" fmla="*/ 6815371 w 12886034"/>
              <a:gd name="connsiteY28" fmla="*/ 939621 h 4808525"/>
              <a:gd name="connsiteX29" fmla="*/ 7074884 w 12886034"/>
              <a:gd name="connsiteY29" fmla="*/ 743590 h 4808525"/>
              <a:gd name="connsiteX30" fmla="*/ 7386370 w 12886034"/>
              <a:gd name="connsiteY30" fmla="*/ 1037462 h 4808525"/>
              <a:gd name="connsiteX31" fmla="*/ 7691926 w 12886034"/>
              <a:gd name="connsiteY31" fmla="*/ 945561 h 4808525"/>
              <a:gd name="connsiteX32" fmla="*/ 7105231 w 12886034"/>
              <a:gd name="connsiteY32" fmla="*/ 581454 h 4808525"/>
              <a:gd name="connsiteX33" fmla="*/ 6521674 w 12886034"/>
              <a:gd name="connsiteY33" fmla="*/ 1022087 h 4808525"/>
              <a:gd name="connsiteX34" fmla="*/ 6891411 w 12886034"/>
              <a:gd name="connsiteY34" fmla="*/ 1462720 h 4808525"/>
              <a:gd name="connsiteX35" fmla="*/ 7196967 w 12886034"/>
              <a:gd name="connsiteY35" fmla="*/ 1539245 h 4808525"/>
              <a:gd name="connsiteX36" fmla="*/ 7432064 w 12886034"/>
              <a:gd name="connsiteY36" fmla="*/ 1765677 h 4808525"/>
              <a:gd name="connsiteX37" fmla="*/ 7129647 w 12886034"/>
              <a:gd name="connsiteY37" fmla="*/ 2010628 h 4808525"/>
              <a:gd name="connsiteX38" fmla="*/ 6781536 w 12886034"/>
              <a:gd name="connsiteY38" fmla="*/ 1655606 h 4808525"/>
              <a:gd name="connsiteX39" fmla="*/ 6457842 w 12886034"/>
              <a:gd name="connsiteY39" fmla="*/ 1747506 h 4808525"/>
              <a:gd name="connsiteX40" fmla="*/ 7090232 w 12886034"/>
              <a:gd name="connsiteY40" fmla="*/ 2173114 h 4808525"/>
              <a:gd name="connsiteX41" fmla="*/ 5363978 w 12886034"/>
              <a:gd name="connsiteY41" fmla="*/ 2142364 h 4808525"/>
              <a:gd name="connsiteX42" fmla="*/ 5363978 w 12886034"/>
              <a:gd name="connsiteY42" fmla="*/ 1153823 h 4808525"/>
              <a:gd name="connsiteX43" fmla="*/ 5666395 w 12886034"/>
              <a:gd name="connsiteY43" fmla="*/ 795655 h 4808525"/>
              <a:gd name="connsiteX44" fmla="*/ 5926258 w 12886034"/>
              <a:gd name="connsiteY44" fmla="*/ 1095467 h 4808525"/>
              <a:gd name="connsiteX45" fmla="*/ 5926258 w 12886034"/>
              <a:gd name="connsiteY45" fmla="*/ 2142364 h 4808525"/>
              <a:gd name="connsiteX46" fmla="*/ 6286926 w 12886034"/>
              <a:gd name="connsiteY46" fmla="*/ 2142364 h 4808525"/>
              <a:gd name="connsiteX47" fmla="*/ 6286926 w 12886034"/>
              <a:gd name="connsiteY47" fmla="*/ 1092672 h 4808525"/>
              <a:gd name="connsiteX48" fmla="*/ 5804175 w 12886034"/>
              <a:gd name="connsiteY48" fmla="*/ 581454 h 4808525"/>
              <a:gd name="connsiteX49" fmla="*/ 5382465 w 12886034"/>
              <a:gd name="connsiteY49" fmla="*/ 804741 h 4808525"/>
              <a:gd name="connsiteX50" fmla="*/ 5363978 w 12886034"/>
              <a:gd name="connsiteY50" fmla="*/ 804741 h 4808525"/>
              <a:gd name="connsiteX51" fmla="*/ 5363978 w 12886034"/>
              <a:gd name="connsiteY51" fmla="*/ 611854 h 4808525"/>
              <a:gd name="connsiteX52" fmla="*/ 5003310 w 12886034"/>
              <a:gd name="connsiteY52" fmla="*/ 611854 h 4808525"/>
              <a:gd name="connsiteX53" fmla="*/ 5003310 w 12886034"/>
              <a:gd name="connsiteY53" fmla="*/ 2142015 h 4808525"/>
              <a:gd name="connsiteX54" fmla="*/ 5363978 w 12886034"/>
              <a:gd name="connsiteY54" fmla="*/ 2142015 h 4808525"/>
              <a:gd name="connsiteX55" fmla="*/ 3790851 w 12886034"/>
              <a:gd name="connsiteY55" fmla="*/ 2142364 h 4808525"/>
              <a:gd name="connsiteX56" fmla="*/ 3790851 w 12886034"/>
              <a:gd name="connsiteY56" fmla="*/ 1153823 h 4808525"/>
              <a:gd name="connsiteX57" fmla="*/ 4093268 w 12886034"/>
              <a:gd name="connsiteY57" fmla="*/ 795655 h 4808525"/>
              <a:gd name="connsiteX58" fmla="*/ 4352782 w 12886034"/>
              <a:gd name="connsiteY58" fmla="*/ 1095467 h 4808525"/>
              <a:gd name="connsiteX59" fmla="*/ 4352782 w 12886034"/>
              <a:gd name="connsiteY59" fmla="*/ 2142364 h 4808525"/>
              <a:gd name="connsiteX60" fmla="*/ 4713450 w 12886034"/>
              <a:gd name="connsiteY60" fmla="*/ 2142364 h 4808525"/>
              <a:gd name="connsiteX61" fmla="*/ 4713450 w 12886034"/>
              <a:gd name="connsiteY61" fmla="*/ 1092672 h 4808525"/>
              <a:gd name="connsiteX62" fmla="*/ 4230699 w 12886034"/>
              <a:gd name="connsiteY62" fmla="*/ 581454 h 4808525"/>
              <a:gd name="connsiteX63" fmla="*/ 3808990 w 12886034"/>
              <a:gd name="connsiteY63" fmla="*/ 804741 h 4808525"/>
              <a:gd name="connsiteX64" fmla="*/ 3790503 w 12886034"/>
              <a:gd name="connsiteY64" fmla="*/ 804741 h 4808525"/>
              <a:gd name="connsiteX65" fmla="*/ 3790503 w 12886034"/>
              <a:gd name="connsiteY65" fmla="*/ 0 h 4808525"/>
              <a:gd name="connsiteX66" fmla="*/ 3429835 w 12886034"/>
              <a:gd name="connsiteY66" fmla="*/ 0 h 4808525"/>
              <a:gd name="connsiteX67" fmla="*/ 3429835 w 12886034"/>
              <a:gd name="connsiteY67" fmla="*/ 2142364 h 4808525"/>
              <a:gd name="connsiteX68" fmla="*/ 3790851 w 12886034"/>
              <a:gd name="connsiteY68" fmla="*/ 2142364 h 4808525"/>
              <a:gd name="connsiteX69" fmla="*/ 2470960 w 12886034"/>
              <a:gd name="connsiteY69" fmla="*/ 2004688 h 4808525"/>
              <a:gd name="connsiteX70" fmla="*/ 2104362 w 12886034"/>
              <a:gd name="connsiteY70" fmla="*/ 1377109 h 4808525"/>
              <a:gd name="connsiteX71" fmla="*/ 2470960 w 12886034"/>
              <a:gd name="connsiteY71" fmla="*/ 749530 h 4808525"/>
              <a:gd name="connsiteX72" fmla="*/ 2837558 w 12886034"/>
              <a:gd name="connsiteY72" fmla="*/ 1377109 h 4808525"/>
              <a:gd name="connsiteX73" fmla="*/ 2470960 w 12886034"/>
              <a:gd name="connsiteY73" fmla="*/ 2004688 h 4808525"/>
              <a:gd name="connsiteX74" fmla="*/ 2470960 w 12886034"/>
              <a:gd name="connsiteY74" fmla="*/ 2173114 h 4808525"/>
              <a:gd name="connsiteX75" fmla="*/ 3216364 w 12886034"/>
              <a:gd name="connsiteY75" fmla="*/ 1377459 h 4808525"/>
              <a:gd name="connsiteX76" fmla="*/ 2470960 w 12886034"/>
              <a:gd name="connsiteY76" fmla="*/ 581803 h 4808525"/>
              <a:gd name="connsiteX77" fmla="*/ 1725556 w 12886034"/>
              <a:gd name="connsiteY77" fmla="*/ 1377459 h 4808525"/>
              <a:gd name="connsiteX78" fmla="*/ 2470960 w 12886034"/>
              <a:gd name="connsiteY78" fmla="*/ 2173114 h 4808525"/>
              <a:gd name="connsiteX79" fmla="*/ 802957 w 12886034"/>
              <a:gd name="connsiteY79" fmla="*/ 2191284 h 4808525"/>
              <a:gd name="connsiteX80" fmla="*/ 1511736 w 12886034"/>
              <a:gd name="connsiteY80" fmla="*/ 1484385 h 4808525"/>
              <a:gd name="connsiteX81" fmla="*/ 1511736 w 12886034"/>
              <a:gd name="connsiteY81" fmla="*/ 0 h 4808525"/>
              <a:gd name="connsiteX82" fmla="*/ 1132930 w 12886034"/>
              <a:gd name="connsiteY82" fmla="*/ 0 h 4808525"/>
              <a:gd name="connsiteX83" fmla="*/ 1132930 w 12886034"/>
              <a:gd name="connsiteY83" fmla="*/ 1582225 h 4808525"/>
              <a:gd name="connsiteX84" fmla="*/ 802957 w 12886034"/>
              <a:gd name="connsiteY84" fmla="*/ 1992458 h 4808525"/>
              <a:gd name="connsiteX85" fmla="*/ 472984 w 12886034"/>
              <a:gd name="connsiteY85" fmla="*/ 1551825 h 4808525"/>
              <a:gd name="connsiteX86" fmla="*/ 472984 w 12886034"/>
              <a:gd name="connsiteY86" fmla="*/ 1257953 h 4808525"/>
              <a:gd name="connsiteX87" fmla="*/ 94178 w 12886034"/>
              <a:gd name="connsiteY87" fmla="*/ 1352649 h 4808525"/>
              <a:gd name="connsiteX88" fmla="*/ 94178 w 12886034"/>
              <a:gd name="connsiteY88" fmla="*/ 1484385 h 4808525"/>
              <a:gd name="connsiteX89" fmla="*/ 802957 w 12886034"/>
              <a:gd name="connsiteY89" fmla="*/ 2191284 h 4808525"/>
              <a:gd name="connsiteX90" fmla="*/ 11963087 w 12886034"/>
              <a:gd name="connsiteY90" fmla="*/ 4759256 h 4808525"/>
              <a:gd name="connsiteX91" fmla="*/ 11963087 w 12886034"/>
              <a:gd name="connsiteY91" fmla="*/ 3770714 h 4808525"/>
              <a:gd name="connsiteX92" fmla="*/ 12265504 w 12886034"/>
              <a:gd name="connsiteY92" fmla="*/ 3412547 h 4808525"/>
              <a:gd name="connsiteX93" fmla="*/ 12525366 w 12886034"/>
              <a:gd name="connsiteY93" fmla="*/ 3712359 h 4808525"/>
              <a:gd name="connsiteX94" fmla="*/ 12525366 w 12886034"/>
              <a:gd name="connsiteY94" fmla="*/ 4759256 h 4808525"/>
              <a:gd name="connsiteX95" fmla="*/ 12886035 w 12886034"/>
              <a:gd name="connsiteY95" fmla="*/ 4759256 h 4808525"/>
              <a:gd name="connsiteX96" fmla="*/ 12886035 w 12886034"/>
              <a:gd name="connsiteY96" fmla="*/ 3709564 h 4808525"/>
              <a:gd name="connsiteX97" fmla="*/ 12403283 w 12886034"/>
              <a:gd name="connsiteY97" fmla="*/ 3198346 h 4808525"/>
              <a:gd name="connsiteX98" fmla="*/ 11981574 w 12886034"/>
              <a:gd name="connsiteY98" fmla="*/ 3421632 h 4808525"/>
              <a:gd name="connsiteX99" fmla="*/ 11963436 w 12886034"/>
              <a:gd name="connsiteY99" fmla="*/ 3421632 h 4808525"/>
              <a:gd name="connsiteX100" fmla="*/ 11963436 w 12886034"/>
              <a:gd name="connsiteY100" fmla="*/ 3228746 h 4808525"/>
              <a:gd name="connsiteX101" fmla="*/ 11602768 w 12886034"/>
              <a:gd name="connsiteY101" fmla="*/ 3228746 h 4808525"/>
              <a:gd name="connsiteX102" fmla="*/ 11602768 w 12886034"/>
              <a:gd name="connsiteY102" fmla="*/ 4758906 h 4808525"/>
              <a:gd name="connsiteX103" fmla="*/ 11963087 w 12886034"/>
              <a:gd name="connsiteY103" fmla="*/ 4758906 h 4808525"/>
              <a:gd name="connsiteX104" fmla="*/ 10643544 w 12886034"/>
              <a:gd name="connsiteY104" fmla="*/ 4621580 h 4808525"/>
              <a:gd name="connsiteX105" fmla="*/ 10276946 w 12886034"/>
              <a:gd name="connsiteY105" fmla="*/ 3994001 h 4808525"/>
              <a:gd name="connsiteX106" fmla="*/ 10643544 w 12886034"/>
              <a:gd name="connsiteY106" fmla="*/ 3366422 h 4808525"/>
              <a:gd name="connsiteX107" fmla="*/ 11010143 w 12886034"/>
              <a:gd name="connsiteY107" fmla="*/ 3994001 h 4808525"/>
              <a:gd name="connsiteX108" fmla="*/ 10643544 w 12886034"/>
              <a:gd name="connsiteY108" fmla="*/ 4621580 h 4808525"/>
              <a:gd name="connsiteX109" fmla="*/ 10643544 w 12886034"/>
              <a:gd name="connsiteY109" fmla="*/ 4790006 h 4808525"/>
              <a:gd name="connsiteX110" fmla="*/ 11388948 w 12886034"/>
              <a:gd name="connsiteY110" fmla="*/ 3994350 h 4808525"/>
              <a:gd name="connsiteX111" fmla="*/ 10643544 w 12886034"/>
              <a:gd name="connsiteY111" fmla="*/ 3198695 h 4808525"/>
              <a:gd name="connsiteX112" fmla="*/ 9898141 w 12886034"/>
              <a:gd name="connsiteY112" fmla="*/ 3994350 h 4808525"/>
              <a:gd name="connsiteX113" fmla="*/ 10643544 w 12886034"/>
              <a:gd name="connsiteY113" fmla="*/ 4790006 h 4808525"/>
              <a:gd name="connsiteX114" fmla="*/ 9112972 w 12886034"/>
              <a:gd name="connsiteY114" fmla="*/ 4790006 h 4808525"/>
              <a:gd name="connsiteX115" fmla="*/ 9748502 w 12886034"/>
              <a:gd name="connsiteY115" fmla="*/ 4291018 h 4808525"/>
              <a:gd name="connsiteX116" fmla="*/ 9342140 w 12886034"/>
              <a:gd name="connsiteY116" fmla="*/ 3831865 h 4808525"/>
              <a:gd name="connsiteX117" fmla="*/ 9048792 w 12886034"/>
              <a:gd name="connsiteY117" fmla="*/ 3758484 h 4808525"/>
              <a:gd name="connsiteX118" fmla="*/ 8838111 w 12886034"/>
              <a:gd name="connsiteY118" fmla="*/ 3556513 h 4808525"/>
              <a:gd name="connsiteX119" fmla="*/ 9097974 w 12886034"/>
              <a:gd name="connsiteY119" fmla="*/ 3360482 h 4808525"/>
              <a:gd name="connsiteX120" fmla="*/ 9409460 w 12886034"/>
              <a:gd name="connsiteY120" fmla="*/ 3654354 h 4808525"/>
              <a:gd name="connsiteX121" fmla="*/ 9715016 w 12886034"/>
              <a:gd name="connsiteY121" fmla="*/ 3562453 h 4808525"/>
              <a:gd name="connsiteX122" fmla="*/ 9128320 w 12886034"/>
              <a:gd name="connsiteY122" fmla="*/ 3198346 h 4808525"/>
              <a:gd name="connsiteX123" fmla="*/ 8544763 w 12886034"/>
              <a:gd name="connsiteY123" fmla="*/ 3638978 h 4808525"/>
              <a:gd name="connsiteX124" fmla="*/ 8914500 w 12886034"/>
              <a:gd name="connsiteY124" fmla="*/ 4079611 h 4808525"/>
              <a:gd name="connsiteX125" fmla="*/ 9220057 w 12886034"/>
              <a:gd name="connsiteY125" fmla="*/ 4156137 h 4808525"/>
              <a:gd name="connsiteX126" fmla="*/ 9455153 w 12886034"/>
              <a:gd name="connsiteY126" fmla="*/ 4382569 h 4808525"/>
              <a:gd name="connsiteX127" fmla="*/ 9152737 w 12886034"/>
              <a:gd name="connsiteY127" fmla="*/ 4627520 h 4808525"/>
              <a:gd name="connsiteX128" fmla="*/ 8804626 w 12886034"/>
              <a:gd name="connsiteY128" fmla="*/ 4272498 h 4808525"/>
              <a:gd name="connsiteX129" fmla="*/ 8480931 w 12886034"/>
              <a:gd name="connsiteY129" fmla="*/ 4364399 h 4808525"/>
              <a:gd name="connsiteX130" fmla="*/ 9112972 w 12886034"/>
              <a:gd name="connsiteY130" fmla="*/ 4790006 h 4808525"/>
              <a:gd name="connsiteX131" fmla="*/ 7386719 w 12886034"/>
              <a:gd name="connsiteY131" fmla="*/ 4759256 h 4808525"/>
              <a:gd name="connsiteX132" fmla="*/ 7386719 w 12886034"/>
              <a:gd name="connsiteY132" fmla="*/ 3770714 h 4808525"/>
              <a:gd name="connsiteX133" fmla="*/ 7689136 w 12886034"/>
              <a:gd name="connsiteY133" fmla="*/ 3412547 h 4808525"/>
              <a:gd name="connsiteX134" fmla="*/ 7948649 w 12886034"/>
              <a:gd name="connsiteY134" fmla="*/ 3712359 h 4808525"/>
              <a:gd name="connsiteX135" fmla="*/ 7948649 w 12886034"/>
              <a:gd name="connsiteY135" fmla="*/ 4759256 h 4808525"/>
              <a:gd name="connsiteX136" fmla="*/ 8309318 w 12886034"/>
              <a:gd name="connsiteY136" fmla="*/ 4759256 h 4808525"/>
              <a:gd name="connsiteX137" fmla="*/ 8309318 w 12886034"/>
              <a:gd name="connsiteY137" fmla="*/ 3709564 h 4808525"/>
              <a:gd name="connsiteX138" fmla="*/ 7826566 w 12886034"/>
              <a:gd name="connsiteY138" fmla="*/ 3198346 h 4808525"/>
              <a:gd name="connsiteX139" fmla="*/ 7404857 w 12886034"/>
              <a:gd name="connsiteY139" fmla="*/ 3421632 h 4808525"/>
              <a:gd name="connsiteX140" fmla="*/ 7386370 w 12886034"/>
              <a:gd name="connsiteY140" fmla="*/ 3421632 h 4808525"/>
              <a:gd name="connsiteX141" fmla="*/ 7386370 w 12886034"/>
              <a:gd name="connsiteY141" fmla="*/ 3228746 h 4808525"/>
              <a:gd name="connsiteX142" fmla="*/ 7025702 w 12886034"/>
              <a:gd name="connsiteY142" fmla="*/ 3228746 h 4808525"/>
              <a:gd name="connsiteX143" fmla="*/ 7025702 w 12886034"/>
              <a:gd name="connsiteY143" fmla="*/ 4758906 h 4808525"/>
              <a:gd name="connsiteX144" fmla="*/ 7386719 w 12886034"/>
              <a:gd name="connsiteY144" fmla="*/ 4758906 h 4808525"/>
              <a:gd name="connsiteX145" fmla="*/ 5813593 w 12886034"/>
              <a:gd name="connsiteY145" fmla="*/ 4759256 h 4808525"/>
              <a:gd name="connsiteX146" fmla="*/ 5813593 w 12886034"/>
              <a:gd name="connsiteY146" fmla="*/ 3770714 h 4808525"/>
              <a:gd name="connsiteX147" fmla="*/ 6116010 w 12886034"/>
              <a:gd name="connsiteY147" fmla="*/ 3412547 h 4808525"/>
              <a:gd name="connsiteX148" fmla="*/ 6375523 w 12886034"/>
              <a:gd name="connsiteY148" fmla="*/ 3712359 h 4808525"/>
              <a:gd name="connsiteX149" fmla="*/ 6375523 w 12886034"/>
              <a:gd name="connsiteY149" fmla="*/ 4759256 h 4808525"/>
              <a:gd name="connsiteX150" fmla="*/ 6736191 w 12886034"/>
              <a:gd name="connsiteY150" fmla="*/ 4759256 h 4808525"/>
              <a:gd name="connsiteX151" fmla="*/ 6736191 w 12886034"/>
              <a:gd name="connsiteY151" fmla="*/ 3709564 h 4808525"/>
              <a:gd name="connsiteX152" fmla="*/ 6253440 w 12886034"/>
              <a:gd name="connsiteY152" fmla="*/ 3198346 h 4808525"/>
              <a:gd name="connsiteX153" fmla="*/ 5831730 w 12886034"/>
              <a:gd name="connsiteY153" fmla="*/ 3421632 h 4808525"/>
              <a:gd name="connsiteX154" fmla="*/ 5813243 w 12886034"/>
              <a:gd name="connsiteY154" fmla="*/ 3421632 h 4808525"/>
              <a:gd name="connsiteX155" fmla="*/ 5813243 w 12886034"/>
              <a:gd name="connsiteY155" fmla="*/ 2616892 h 4808525"/>
              <a:gd name="connsiteX156" fmla="*/ 5452576 w 12886034"/>
              <a:gd name="connsiteY156" fmla="*/ 2616892 h 4808525"/>
              <a:gd name="connsiteX157" fmla="*/ 5452576 w 12886034"/>
              <a:gd name="connsiteY157" fmla="*/ 4759256 h 4808525"/>
              <a:gd name="connsiteX158" fmla="*/ 5813593 w 12886034"/>
              <a:gd name="connsiteY158" fmla="*/ 4759256 h 4808525"/>
              <a:gd name="connsiteX159" fmla="*/ 4493701 w 12886034"/>
              <a:gd name="connsiteY159" fmla="*/ 4621580 h 4808525"/>
              <a:gd name="connsiteX160" fmla="*/ 4127103 w 12886034"/>
              <a:gd name="connsiteY160" fmla="*/ 3994001 h 4808525"/>
              <a:gd name="connsiteX161" fmla="*/ 4493701 w 12886034"/>
              <a:gd name="connsiteY161" fmla="*/ 3366422 h 4808525"/>
              <a:gd name="connsiteX162" fmla="*/ 4860299 w 12886034"/>
              <a:gd name="connsiteY162" fmla="*/ 3994001 h 4808525"/>
              <a:gd name="connsiteX163" fmla="*/ 4493701 w 12886034"/>
              <a:gd name="connsiteY163" fmla="*/ 4621580 h 4808525"/>
              <a:gd name="connsiteX164" fmla="*/ 4493701 w 12886034"/>
              <a:gd name="connsiteY164" fmla="*/ 4790006 h 4808525"/>
              <a:gd name="connsiteX165" fmla="*/ 5239105 w 12886034"/>
              <a:gd name="connsiteY165" fmla="*/ 3994350 h 4808525"/>
              <a:gd name="connsiteX166" fmla="*/ 4493701 w 12886034"/>
              <a:gd name="connsiteY166" fmla="*/ 3198695 h 4808525"/>
              <a:gd name="connsiteX167" fmla="*/ 3748297 w 12886034"/>
              <a:gd name="connsiteY167" fmla="*/ 3994350 h 4808525"/>
              <a:gd name="connsiteX168" fmla="*/ 4493701 w 12886034"/>
              <a:gd name="connsiteY168" fmla="*/ 4790006 h 4808525"/>
              <a:gd name="connsiteX169" fmla="*/ 2825698 w 12886034"/>
              <a:gd name="connsiteY169" fmla="*/ 4808176 h 4808525"/>
              <a:gd name="connsiteX170" fmla="*/ 3534477 w 12886034"/>
              <a:gd name="connsiteY170" fmla="*/ 4101276 h 4808525"/>
              <a:gd name="connsiteX171" fmla="*/ 3534477 w 12886034"/>
              <a:gd name="connsiteY171" fmla="*/ 2616892 h 4808525"/>
              <a:gd name="connsiteX172" fmla="*/ 3155671 w 12886034"/>
              <a:gd name="connsiteY172" fmla="*/ 2616892 h 4808525"/>
              <a:gd name="connsiteX173" fmla="*/ 3155671 w 12886034"/>
              <a:gd name="connsiteY173" fmla="*/ 4199117 h 4808525"/>
              <a:gd name="connsiteX174" fmla="*/ 2825698 w 12886034"/>
              <a:gd name="connsiteY174" fmla="*/ 4609350 h 4808525"/>
              <a:gd name="connsiteX175" fmla="*/ 2495725 w 12886034"/>
              <a:gd name="connsiteY175" fmla="*/ 4168717 h 4808525"/>
              <a:gd name="connsiteX176" fmla="*/ 2495725 w 12886034"/>
              <a:gd name="connsiteY176" fmla="*/ 3874845 h 4808525"/>
              <a:gd name="connsiteX177" fmla="*/ 2116919 w 12886034"/>
              <a:gd name="connsiteY177" fmla="*/ 3969890 h 4808525"/>
              <a:gd name="connsiteX178" fmla="*/ 2116919 w 12886034"/>
              <a:gd name="connsiteY178" fmla="*/ 4101626 h 4808525"/>
              <a:gd name="connsiteX179" fmla="*/ 2825698 w 12886034"/>
              <a:gd name="connsiteY179" fmla="*/ 4808176 h 4808525"/>
              <a:gd name="connsiteX180" fmla="*/ 809585 w 12886034"/>
              <a:gd name="connsiteY180" fmla="*/ 4584890 h 4808525"/>
              <a:gd name="connsiteX181" fmla="*/ 335903 w 12886034"/>
              <a:gd name="connsiteY181" fmla="*/ 4092191 h 4808525"/>
              <a:gd name="connsiteX182" fmla="*/ 522166 w 12886034"/>
              <a:gd name="connsiteY182" fmla="*/ 3703623 h 4808525"/>
              <a:gd name="connsiteX183" fmla="*/ 1212807 w 12886034"/>
              <a:gd name="connsiteY183" fmla="*/ 4459444 h 4808525"/>
              <a:gd name="connsiteX184" fmla="*/ 809585 w 12886034"/>
              <a:gd name="connsiteY184" fmla="*/ 4584890 h 4808525"/>
              <a:gd name="connsiteX185" fmla="*/ 1178973 w 12886034"/>
              <a:gd name="connsiteY185" fmla="*/ 3489073 h 4808525"/>
              <a:gd name="connsiteX186" fmla="*/ 1579056 w 12886034"/>
              <a:gd name="connsiteY186" fmla="*/ 3880785 h 4808525"/>
              <a:gd name="connsiteX187" fmla="*/ 1481390 w 12886034"/>
              <a:gd name="connsiteY187" fmla="*/ 4208202 h 4808525"/>
              <a:gd name="connsiteX188" fmla="*/ 882834 w 12886034"/>
              <a:gd name="connsiteY188" fmla="*/ 3547078 h 4808525"/>
              <a:gd name="connsiteX189" fmla="*/ 1178973 w 12886034"/>
              <a:gd name="connsiteY189" fmla="*/ 3489073 h 4808525"/>
              <a:gd name="connsiteX190" fmla="*/ 809585 w 12886034"/>
              <a:gd name="connsiteY190" fmla="*/ 2730108 h 4808525"/>
              <a:gd name="connsiteX191" fmla="*/ 1096654 w 12886034"/>
              <a:gd name="connsiteY191" fmla="*/ 3023979 h 4808525"/>
              <a:gd name="connsiteX192" fmla="*/ 800167 w 12886034"/>
              <a:gd name="connsiteY192" fmla="*/ 3458672 h 4808525"/>
              <a:gd name="connsiteX193" fmla="*/ 668666 w 12886034"/>
              <a:gd name="connsiteY193" fmla="*/ 3311911 h 4808525"/>
              <a:gd name="connsiteX194" fmla="*/ 519027 w 12886034"/>
              <a:gd name="connsiteY194" fmla="*/ 3008954 h 4808525"/>
              <a:gd name="connsiteX195" fmla="*/ 809585 w 12886034"/>
              <a:gd name="connsiteY195" fmla="*/ 2730108 h 4808525"/>
              <a:gd name="connsiteX196" fmla="*/ 1576266 w 12886034"/>
              <a:gd name="connsiteY196" fmla="*/ 4312333 h 4808525"/>
              <a:gd name="connsiteX197" fmla="*/ 1835779 w 12886034"/>
              <a:gd name="connsiteY197" fmla="*/ 3715504 h 4808525"/>
              <a:gd name="connsiteX198" fmla="*/ 1435696 w 12886034"/>
              <a:gd name="connsiteY198" fmla="*/ 3326937 h 4808525"/>
              <a:gd name="connsiteX199" fmla="*/ 1069098 w 12886034"/>
              <a:gd name="connsiteY199" fmla="*/ 3400317 h 4808525"/>
              <a:gd name="connsiteX200" fmla="*/ 1062820 w 12886034"/>
              <a:gd name="connsiteY200" fmla="*/ 3388087 h 4808525"/>
              <a:gd name="connsiteX201" fmla="*/ 1392793 w 12886034"/>
              <a:gd name="connsiteY201" fmla="*/ 2984144 h 4808525"/>
              <a:gd name="connsiteX202" fmla="*/ 818305 w 12886034"/>
              <a:gd name="connsiteY202" fmla="*/ 2567971 h 4808525"/>
              <a:gd name="connsiteX203" fmla="*/ 189054 w 12886034"/>
              <a:gd name="connsiteY203" fmla="*/ 3097360 h 4808525"/>
              <a:gd name="connsiteX204" fmla="*/ 433569 w 12886034"/>
              <a:gd name="connsiteY204" fmla="*/ 3608578 h 4808525"/>
              <a:gd name="connsiteX205" fmla="*/ 436708 w 12886034"/>
              <a:gd name="connsiteY205" fmla="*/ 3614868 h 4808525"/>
              <a:gd name="connsiteX206" fmla="*/ 0 w 12886034"/>
              <a:gd name="connsiteY206" fmla="*/ 4230217 h 4808525"/>
              <a:gd name="connsiteX207" fmla="*/ 613903 w 12886034"/>
              <a:gd name="connsiteY207" fmla="*/ 4808526 h 4808525"/>
              <a:gd name="connsiteX208" fmla="*/ 1304544 w 12886034"/>
              <a:gd name="connsiteY208" fmla="*/ 4560779 h 4808525"/>
              <a:gd name="connsiteX209" fmla="*/ 1488017 w 12886034"/>
              <a:gd name="connsiteY209" fmla="*/ 4759605 h 4808525"/>
              <a:gd name="connsiteX210" fmla="*/ 1967629 w 12886034"/>
              <a:gd name="connsiteY210" fmla="*/ 4759605 h 4808525"/>
              <a:gd name="connsiteX211" fmla="*/ 1967629 w 12886034"/>
              <a:gd name="connsiteY211" fmla="*/ 4744230 h 4808525"/>
              <a:gd name="connsiteX212" fmla="*/ 1576266 w 12886034"/>
              <a:gd name="connsiteY212" fmla="*/ 4312333 h 480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2886034" h="4808525">
                <a:moveTo>
                  <a:pt x="9940695" y="2142364"/>
                </a:moveTo>
                <a:lnTo>
                  <a:pt x="9940695" y="1153823"/>
                </a:lnTo>
                <a:cubicBezTo>
                  <a:pt x="9940695" y="927391"/>
                  <a:pt x="10056848" y="795655"/>
                  <a:pt x="10243112" y="795655"/>
                </a:cubicBezTo>
                <a:cubicBezTo>
                  <a:pt x="10423446" y="795655"/>
                  <a:pt x="10502975" y="915161"/>
                  <a:pt x="10502975" y="1095467"/>
                </a:cubicBezTo>
                <a:lnTo>
                  <a:pt x="10502975" y="2142364"/>
                </a:lnTo>
                <a:lnTo>
                  <a:pt x="10863643" y="2142364"/>
                </a:lnTo>
                <a:lnTo>
                  <a:pt x="10863643" y="1092672"/>
                </a:lnTo>
                <a:cubicBezTo>
                  <a:pt x="10863643" y="777485"/>
                  <a:pt x="10698656" y="581454"/>
                  <a:pt x="10380892" y="581454"/>
                </a:cubicBezTo>
                <a:cubicBezTo>
                  <a:pt x="10154863" y="581454"/>
                  <a:pt x="10029641" y="679295"/>
                  <a:pt x="9959182" y="804741"/>
                </a:cubicBezTo>
                <a:lnTo>
                  <a:pt x="9940695" y="804741"/>
                </a:lnTo>
                <a:lnTo>
                  <a:pt x="9940695" y="611854"/>
                </a:lnTo>
                <a:lnTo>
                  <a:pt x="9580028" y="611854"/>
                </a:lnTo>
                <a:lnTo>
                  <a:pt x="9580028" y="2142015"/>
                </a:lnTo>
                <a:lnTo>
                  <a:pt x="9940695" y="2142015"/>
                </a:lnTo>
                <a:close/>
                <a:moveTo>
                  <a:pt x="8620803" y="2004688"/>
                </a:moveTo>
                <a:cubicBezTo>
                  <a:pt x="8385707" y="2004688"/>
                  <a:pt x="8254206" y="1781401"/>
                  <a:pt x="8254206" y="1377109"/>
                </a:cubicBezTo>
                <a:cubicBezTo>
                  <a:pt x="8254206" y="966877"/>
                  <a:pt x="8385707" y="749530"/>
                  <a:pt x="8620803" y="749530"/>
                </a:cubicBezTo>
                <a:cubicBezTo>
                  <a:pt x="8855901" y="749530"/>
                  <a:pt x="8987401" y="970022"/>
                  <a:pt x="8987401" y="1377109"/>
                </a:cubicBezTo>
                <a:cubicBezTo>
                  <a:pt x="8987401" y="1787342"/>
                  <a:pt x="8855901" y="2004688"/>
                  <a:pt x="8620803" y="2004688"/>
                </a:cubicBezTo>
                <a:moveTo>
                  <a:pt x="8620803" y="2173114"/>
                </a:moveTo>
                <a:cubicBezTo>
                  <a:pt x="9100416" y="2173114"/>
                  <a:pt x="9366208" y="1814947"/>
                  <a:pt x="9366208" y="1377459"/>
                </a:cubicBezTo>
                <a:cubicBezTo>
                  <a:pt x="9366208" y="939970"/>
                  <a:pt x="9100416" y="581803"/>
                  <a:pt x="8620803" y="581803"/>
                </a:cubicBezTo>
                <a:cubicBezTo>
                  <a:pt x="8141192" y="581803"/>
                  <a:pt x="7875400" y="939970"/>
                  <a:pt x="7875400" y="1377459"/>
                </a:cubicBezTo>
                <a:cubicBezTo>
                  <a:pt x="7875400" y="1814947"/>
                  <a:pt x="8141192" y="2173114"/>
                  <a:pt x="8620803" y="2173114"/>
                </a:cubicBezTo>
                <a:moveTo>
                  <a:pt x="7090232" y="2173114"/>
                </a:moveTo>
                <a:cubicBezTo>
                  <a:pt x="7502524" y="2173114"/>
                  <a:pt x="7725761" y="1980228"/>
                  <a:pt x="7725761" y="1674126"/>
                </a:cubicBezTo>
                <a:cubicBezTo>
                  <a:pt x="7725761" y="1386544"/>
                  <a:pt x="7527289" y="1267038"/>
                  <a:pt x="7319399" y="1214973"/>
                </a:cubicBezTo>
                <a:lnTo>
                  <a:pt x="7026051" y="1141592"/>
                </a:lnTo>
                <a:cubicBezTo>
                  <a:pt x="6879551" y="1104902"/>
                  <a:pt x="6815371" y="1037462"/>
                  <a:pt x="6815371" y="939621"/>
                </a:cubicBezTo>
                <a:cubicBezTo>
                  <a:pt x="6815371" y="817320"/>
                  <a:pt x="6919316" y="743590"/>
                  <a:pt x="7074884" y="743590"/>
                </a:cubicBezTo>
                <a:cubicBezTo>
                  <a:pt x="7258358" y="743590"/>
                  <a:pt x="7371372" y="844576"/>
                  <a:pt x="7386370" y="1037462"/>
                </a:cubicBezTo>
                <a:lnTo>
                  <a:pt x="7691926" y="945561"/>
                </a:lnTo>
                <a:cubicBezTo>
                  <a:pt x="7655302" y="731360"/>
                  <a:pt x="7444621" y="581454"/>
                  <a:pt x="7105231" y="581454"/>
                </a:cubicBezTo>
                <a:cubicBezTo>
                  <a:pt x="6772118" y="581454"/>
                  <a:pt x="6521674" y="722275"/>
                  <a:pt x="6521674" y="1022087"/>
                </a:cubicBezTo>
                <a:cubicBezTo>
                  <a:pt x="6521674" y="1276124"/>
                  <a:pt x="6695729" y="1413799"/>
                  <a:pt x="6891411" y="1462720"/>
                </a:cubicBezTo>
                <a:lnTo>
                  <a:pt x="7196967" y="1539245"/>
                </a:lnTo>
                <a:cubicBezTo>
                  <a:pt x="7358815" y="1579080"/>
                  <a:pt x="7432064" y="1637086"/>
                  <a:pt x="7432064" y="1765677"/>
                </a:cubicBezTo>
                <a:cubicBezTo>
                  <a:pt x="7432064" y="1921873"/>
                  <a:pt x="7322190" y="2010628"/>
                  <a:pt x="7129647" y="2010628"/>
                </a:cubicBezTo>
                <a:cubicBezTo>
                  <a:pt x="6921757" y="2010628"/>
                  <a:pt x="6815022" y="1909643"/>
                  <a:pt x="6781536" y="1655606"/>
                </a:cubicBezTo>
                <a:lnTo>
                  <a:pt x="6457842" y="1747506"/>
                </a:lnTo>
                <a:cubicBezTo>
                  <a:pt x="6475980" y="2010628"/>
                  <a:pt x="6720495" y="2173114"/>
                  <a:pt x="7090232" y="2173114"/>
                </a:cubicBezTo>
                <a:moveTo>
                  <a:pt x="5363978" y="2142364"/>
                </a:moveTo>
                <a:lnTo>
                  <a:pt x="5363978" y="1153823"/>
                </a:lnTo>
                <a:cubicBezTo>
                  <a:pt x="5363978" y="927391"/>
                  <a:pt x="5480132" y="795655"/>
                  <a:pt x="5666395" y="795655"/>
                </a:cubicBezTo>
                <a:cubicBezTo>
                  <a:pt x="5846729" y="795655"/>
                  <a:pt x="5926258" y="915161"/>
                  <a:pt x="5926258" y="1095467"/>
                </a:cubicBezTo>
                <a:lnTo>
                  <a:pt x="5926258" y="2142364"/>
                </a:lnTo>
                <a:lnTo>
                  <a:pt x="6286926" y="2142364"/>
                </a:lnTo>
                <a:lnTo>
                  <a:pt x="6286926" y="1092672"/>
                </a:lnTo>
                <a:cubicBezTo>
                  <a:pt x="6286926" y="777485"/>
                  <a:pt x="6121939" y="581454"/>
                  <a:pt x="5804175" y="581454"/>
                </a:cubicBezTo>
                <a:cubicBezTo>
                  <a:pt x="5578147" y="581454"/>
                  <a:pt x="5452925" y="679295"/>
                  <a:pt x="5382465" y="804741"/>
                </a:cubicBezTo>
                <a:lnTo>
                  <a:pt x="5363978" y="804741"/>
                </a:lnTo>
                <a:lnTo>
                  <a:pt x="5363978" y="611854"/>
                </a:lnTo>
                <a:lnTo>
                  <a:pt x="5003310" y="611854"/>
                </a:lnTo>
                <a:lnTo>
                  <a:pt x="5003310" y="2142015"/>
                </a:lnTo>
                <a:lnTo>
                  <a:pt x="5363978" y="2142015"/>
                </a:lnTo>
                <a:close/>
                <a:moveTo>
                  <a:pt x="3790851" y="2142364"/>
                </a:moveTo>
                <a:lnTo>
                  <a:pt x="3790851" y="1153823"/>
                </a:lnTo>
                <a:cubicBezTo>
                  <a:pt x="3790851" y="927391"/>
                  <a:pt x="3907005" y="795655"/>
                  <a:pt x="4093268" y="795655"/>
                </a:cubicBezTo>
                <a:cubicBezTo>
                  <a:pt x="4273603" y="795655"/>
                  <a:pt x="4352782" y="915161"/>
                  <a:pt x="4352782" y="1095467"/>
                </a:cubicBezTo>
                <a:lnTo>
                  <a:pt x="4352782" y="2142364"/>
                </a:lnTo>
                <a:lnTo>
                  <a:pt x="4713450" y="2142364"/>
                </a:lnTo>
                <a:lnTo>
                  <a:pt x="4713450" y="1092672"/>
                </a:lnTo>
                <a:cubicBezTo>
                  <a:pt x="4713450" y="777485"/>
                  <a:pt x="4548464" y="581454"/>
                  <a:pt x="4230699" y="581454"/>
                </a:cubicBezTo>
                <a:cubicBezTo>
                  <a:pt x="4004671" y="581454"/>
                  <a:pt x="3879449" y="679295"/>
                  <a:pt x="3808990" y="804741"/>
                </a:cubicBezTo>
                <a:lnTo>
                  <a:pt x="3790503" y="804741"/>
                </a:lnTo>
                <a:lnTo>
                  <a:pt x="3790503" y="0"/>
                </a:lnTo>
                <a:lnTo>
                  <a:pt x="3429835" y="0"/>
                </a:lnTo>
                <a:lnTo>
                  <a:pt x="3429835" y="2142364"/>
                </a:lnTo>
                <a:lnTo>
                  <a:pt x="3790851" y="2142364"/>
                </a:lnTo>
                <a:close/>
                <a:moveTo>
                  <a:pt x="2470960" y="2004688"/>
                </a:moveTo>
                <a:cubicBezTo>
                  <a:pt x="2235514" y="2004688"/>
                  <a:pt x="2104362" y="1781401"/>
                  <a:pt x="2104362" y="1377109"/>
                </a:cubicBezTo>
                <a:cubicBezTo>
                  <a:pt x="2104362" y="966877"/>
                  <a:pt x="2235863" y="749530"/>
                  <a:pt x="2470960" y="749530"/>
                </a:cubicBezTo>
                <a:cubicBezTo>
                  <a:pt x="2706057" y="749530"/>
                  <a:pt x="2837558" y="970022"/>
                  <a:pt x="2837558" y="1377109"/>
                </a:cubicBezTo>
                <a:cubicBezTo>
                  <a:pt x="2837906" y="1787342"/>
                  <a:pt x="2706406" y="2004688"/>
                  <a:pt x="2470960" y="2004688"/>
                </a:cubicBezTo>
                <a:moveTo>
                  <a:pt x="2470960" y="2173114"/>
                </a:moveTo>
                <a:cubicBezTo>
                  <a:pt x="2950572" y="2173114"/>
                  <a:pt x="3216364" y="1814947"/>
                  <a:pt x="3216364" y="1377459"/>
                </a:cubicBezTo>
                <a:cubicBezTo>
                  <a:pt x="3216364" y="939970"/>
                  <a:pt x="2950572" y="581803"/>
                  <a:pt x="2470960" y="581803"/>
                </a:cubicBezTo>
                <a:cubicBezTo>
                  <a:pt x="1991348" y="581803"/>
                  <a:pt x="1725556" y="939970"/>
                  <a:pt x="1725556" y="1377459"/>
                </a:cubicBezTo>
                <a:cubicBezTo>
                  <a:pt x="1725556" y="1814947"/>
                  <a:pt x="1991348" y="2173114"/>
                  <a:pt x="2470960" y="2173114"/>
                </a:cubicBezTo>
                <a:moveTo>
                  <a:pt x="802957" y="2191284"/>
                </a:moveTo>
                <a:cubicBezTo>
                  <a:pt x="1313264" y="2191284"/>
                  <a:pt x="1511736" y="1885182"/>
                  <a:pt x="1511736" y="1484385"/>
                </a:cubicBezTo>
                <a:lnTo>
                  <a:pt x="1511736" y="0"/>
                </a:lnTo>
                <a:lnTo>
                  <a:pt x="1132930" y="0"/>
                </a:lnTo>
                <a:lnTo>
                  <a:pt x="1132930" y="1582225"/>
                </a:lnTo>
                <a:cubicBezTo>
                  <a:pt x="1132930" y="1839407"/>
                  <a:pt x="1035264" y="1992458"/>
                  <a:pt x="802957" y="1992458"/>
                </a:cubicBezTo>
                <a:cubicBezTo>
                  <a:pt x="573790" y="1992458"/>
                  <a:pt x="472984" y="1830322"/>
                  <a:pt x="472984" y="1551825"/>
                </a:cubicBezTo>
                <a:lnTo>
                  <a:pt x="472984" y="1257953"/>
                </a:lnTo>
                <a:lnTo>
                  <a:pt x="94178" y="1352649"/>
                </a:lnTo>
                <a:lnTo>
                  <a:pt x="94178" y="1484385"/>
                </a:lnTo>
                <a:cubicBezTo>
                  <a:pt x="94178" y="1885182"/>
                  <a:pt x="292999" y="2191284"/>
                  <a:pt x="802957" y="2191284"/>
                </a:cubicBezTo>
                <a:moveTo>
                  <a:pt x="11963087" y="4759256"/>
                </a:moveTo>
                <a:lnTo>
                  <a:pt x="11963087" y="3770714"/>
                </a:lnTo>
                <a:cubicBezTo>
                  <a:pt x="11963087" y="3544283"/>
                  <a:pt x="12079241" y="3412547"/>
                  <a:pt x="12265504" y="3412547"/>
                </a:cubicBezTo>
                <a:cubicBezTo>
                  <a:pt x="12445838" y="3412547"/>
                  <a:pt x="12525366" y="3532053"/>
                  <a:pt x="12525366" y="3712359"/>
                </a:cubicBezTo>
                <a:lnTo>
                  <a:pt x="12525366" y="4759256"/>
                </a:lnTo>
                <a:lnTo>
                  <a:pt x="12886035" y="4759256"/>
                </a:lnTo>
                <a:lnTo>
                  <a:pt x="12886035" y="3709564"/>
                </a:lnTo>
                <a:cubicBezTo>
                  <a:pt x="12886035" y="3394377"/>
                  <a:pt x="12721048" y="3198346"/>
                  <a:pt x="12403283" y="3198346"/>
                </a:cubicBezTo>
                <a:cubicBezTo>
                  <a:pt x="12177256" y="3198346"/>
                  <a:pt x="12052034" y="3296186"/>
                  <a:pt x="11981574" y="3421632"/>
                </a:cubicBezTo>
                <a:lnTo>
                  <a:pt x="11963436" y="3421632"/>
                </a:lnTo>
                <a:lnTo>
                  <a:pt x="11963436" y="3228746"/>
                </a:lnTo>
                <a:lnTo>
                  <a:pt x="11602768" y="3228746"/>
                </a:lnTo>
                <a:lnTo>
                  <a:pt x="11602768" y="4758906"/>
                </a:lnTo>
                <a:lnTo>
                  <a:pt x="11963087" y="4758906"/>
                </a:lnTo>
                <a:close/>
                <a:moveTo>
                  <a:pt x="10643544" y="4621580"/>
                </a:moveTo>
                <a:cubicBezTo>
                  <a:pt x="10408448" y="4621580"/>
                  <a:pt x="10276946" y="4398293"/>
                  <a:pt x="10276946" y="3994001"/>
                </a:cubicBezTo>
                <a:cubicBezTo>
                  <a:pt x="10276946" y="3583769"/>
                  <a:pt x="10408448" y="3366422"/>
                  <a:pt x="10643544" y="3366422"/>
                </a:cubicBezTo>
                <a:cubicBezTo>
                  <a:pt x="10878641" y="3366422"/>
                  <a:pt x="11010143" y="3586913"/>
                  <a:pt x="11010143" y="3994001"/>
                </a:cubicBezTo>
                <a:cubicBezTo>
                  <a:pt x="11010143" y="4404234"/>
                  <a:pt x="10878641" y="4621580"/>
                  <a:pt x="10643544" y="4621580"/>
                </a:cubicBezTo>
                <a:moveTo>
                  <a:pt x="10643544" y="4790006"/>
                </a:moveTo>
                <a:cubicBezTo>
                  <a:pt x="11123156" y="4790006"/>
                  <a:pt x="11388948" y="4431839"/>
                  <a:pt x="11388948" y="3994350"/>
                </a:cubicBezTo>
                <a:cubicBezTo>
                  <a:pt x="11388948" y="3556513"/>
                  <a:pt x="11123156" y="3198695"/>
                  <a:pt x="10643544" y="3198695"/>
                </a:cubicBezTo>
                <a:cubicBezTo>
                  <a:pt x="10163933" y="3198695"/>
                  <a:pt x="9898141" y="3556862"/>
                  <a:pt x="9898141" y="3994350"/>
                </a:cubicBezTo>
                <a:cubicBezTo>
                  <a:pt x="9898141" y="4431839"/>
                  <a:pt x="10163933" y="4790006"/>
                  <a:pt x="10643544" y="4790006"/>
                </a:cubicBezTo>
                <a:moveTo>
                  <a:pt x="9112972" y="4790006"/>
                </a:moveTo>
                <a:cubicBezTo>
                  <a:pt x="9525264" y="4790006"/>
                  <a:pt x="9748502" y="4597119"/>
                  <a:pt x="9748502" y="4291018"/>
                </a:cubicBezTo>
                <a:cubicBezTo>
                  <a:pt x="9748502" y="4003435"/>
                  <a:pt x="9550029" y="3883930"/>
                  <a:pt x="9342140" y="3831865"/>
                </a:cubicBezTo>
                <a:lnTo>
                  <a:pt x="9048792" y="3758484"/>
                </a:lnTo>
                <a:cubicBezTo>
                  <a:pt x="8902292" y="3721794"/>
                  <a:pt x="8838111" y="3654354"/>
                  <a:pt x="8838111" y="3556513"/>
                </a:cubicBezTo>
                <a:cubicBezTo>
                  <a:pt x="8838111" y="3434212"/>
                  <a:pt x="8942056" y="3360482"/>
                  <a:pt x="9097974" y="3360482"/>
                </a:cubicBezTo>
                <a:cubicBezTo>
                  <a:pt x="9281446" y="3360482"/>
                  <a:pt x="9394461" y="3461468"/>
                  <a:pt x="9409460" y="3654354"/>
                </a:cubicBezTo>
                <a:lnTo>
                  <a:pt x="9715016" y="3562453"/>
                </a:lnTo>
                <a:cubicBezTo>
                  <a:pt x="9678391" y="3348252"/>
                  <a:pt x="9467711" y="3198346"/>
                  <a:pt x="9128320" y="3198346"/>
                </a:cubicBezTo>
                <a:cubicBezTo>
                  <a:pt x="8795208" y="3198346"/>
                  <a:pt x="8544763" y="3339167"/>
                  <a:pt x="8544763" y="3638978"/>
                </a:cubicBezTo>
                <a:cubicBezTo>
                  <a:pt x="8544763" y="3893015"/>
                  <a:pt x="8718819" y="4030691"/>
                  <a:pt x="8914500" y="4079611"/>
                </a:cubicBezTo>
                <a:lnTo>
                  <a:pt x="9220057" y="4156137"/>
                </a:lnTo>
                <a:cubicBezTo>
                  <a:pt x="9381903" y="4195972"/>
                  <a:pt x="9455153" y="4253978"/>
                  <a:pt x="9455153" y="4382569"/>
                </a:cubicBezTo>
                <a:cubicBezTo>
                  <a:pt x="9455153" y="4538764"/>
                  <a:pt x="9345279" y="4627520"/>
                  <a:pt x="9152737" y="4627520"/>
                </a:cubicBezTo>
                <a:cubicBezTo>
                  <a:pt x="8944846" y="4627520"/>
                  <a:pt x="8838111" y="4526535"/>
                  <a:pt x="8804626" y="4272498"/>
                </a:cubicBezTo>
                <a:lnTo>
                  <a:pt x="8480931" y="4364399"/>
                </a:lnTo>
                <a:cubicBezTo>
                  <a:pt x="8498720" y="4627520"/>
                  <a:pt x="8743235" y="4790006"/>
                  <a:pt x="9112972" y="4790006"/>
                </a:cubicBezTo>
                <a:moveTo>
                  <a:pt x="7386719" y="4759256"/>
                </a:moveTo>
                <a:lnTo>
                  <a:pt x="7386719" y="3770714"/>
                </a:lnTo>
                <a:cubicBezTo>
                  <a:pt x="7386719" y="3544283"/>
                  <a:pt x="7502872" y="3412547"/>
                  <a:pt x="7689136" y="3412547"/>
                </a:cubicBezTo>
                <a:cubicBezTo>
                  <a:pt x="7869470" y="3412547"/>
                  <a:pt x="7948649" y="3532053"/>
                  <a:pt x="7948649" y="3712359"/>
                </a:cubicBezTo>
                <a:lnTo>
                  <a:pt x="7948649" y="4759256"/>
                </a:lnTo>
                <a:lnTo>
                  <a:pt x="8309318" y="4759256"/>
                </a:lnTo>
                <a:lnTo>
                  <a:pt x="8309318" y="3709564"/>
                </a:lnTo>
                <a:cubicBezTo>
                  <a:pt x="8309318" y="3394377"/>
                  <a:pt x="8144331" y="3198346"/>
                  <a:pt x="7826566" y="3198346"/>
                </a:cubicBezTo>
                <a:cubicBezTo>
                  <a:pt x="7600539" y="3198346"/>
                  <a:pt x="7475317" y="3296186"/>
                  <a:pt x="7404857" y="3421632"/>
                </a:cubicBezTo>
                <a:lnTo>
                  <a:pt x="7386370" y="3421632"/>
                </a:lnTo>
                <a:lnTo>
                  <a:pt x="7386370" y="3228746"/>
                </a:lnTo>
                <a:lnTo>
                  <a:pt x="7025702" y="3228746"/>
                </a:lnTo>
                <a:lnTo>
                  <a:pt x="7025702" y="4758906"/>
                </a:lnTo>
                <a:lnTo>
                  <a:pt x="7386719" y="4758906"/>
                </a:lnTo>
                <a:close/>
                <a:moveTo>
                  <a:pt x="5813593" y="4759256"/>
                </a:moveTo>
                <a:lnTo>
                  <a:pt x="5813593" y="3770714"/>
                </a:lnTo>
                <a:cubicBezTo>
                  <a:pt x="5813593" y="3544283"/>
                  <a:pt x="5929746" y="3412547"/>
                  <a:pt x="6116010" y="3412547"/>
                </a:cubicBezTo>
                <a:cubicBezTo>
                  <a:pt x="6296343" y="3412547"/>
                  <a:pt x="6375523" y="3532053"/>
                  <a:pt x="6375523" y="3712359"/>
                </a:cubicBezTo>
                <a:lnTo>
                  <a:pt x="6375523" y="4759256"/>
                </a:lnTo>
                <a:lnTo>
                  <a:pt x="6736191" y="4759256"/>
                </a:lnTo>
                <a:lnTo>
                  <a:pt x="6736191" y="3709564"/>
                </a:lnTo>
                <a:cubicBezTo>
                  <a:pt x="6736191" y="3394377"/>
                  <a:pt x="6571205" y="3198346"/>
                  <a:pt x="6253440" y="3198346"/>
                </a:cubicBezTo>
                <a:cubicBezTo>
                  <a:pt x="6027412" y="3198346"/>
                  <a:pt x="5902190" y="3296186"/>
                  <a:pt x="5831730" y="3421632"/>
                </a:cubicBezTo>
                <a:lnTo>
                  <a:pt x="5813243" y="3421632"/>
                </a:lnTo>
                <a:lnTo>
                  <a:pt x="5813243" y="2616892"/>
                </a:lnTo>
                <a:lnTo>
                  <a:pt x="5452576" y="2616892"/>
                </a:lnTo>
                <a:lnTo>
                  <a:pt x="5452576" y="4759256"/>
                </a:lnTo>
                <a:lnTo>
                  <a:pt x="5813593" y="4759256"/>
                </a:lnTo>
                <a:close/>
                <a:moveTo>
                  <a:pt x="4493701" y="4621580"/>
                </a:moveTo>
                <a:cubicBezTo>
                  <a:pt x="4258604" y="4621580"/>
                  <a:pt x="4127103" y="4398293"/>
                  <a:pt x="4127103" y="3994001"/>
                </a:cubicBezTo>
                <a:cubicBezTo>
                  <a:pt x="4127103" y="3583769"/>
                  <a:pt x="4258604" y="3366422"/>
                  <a:pt x="4493701" y="3366422"/>
                </a:cubicBezTo>
                <a:cubicBezTo>
                  <a:pt x="4728798" y="3366422"/>
                  <a:pt x="4860299" y="3586913"/>
                  <a:pt x="4860299" y="3994001"/>
                </a:cubicBezTo>
                <a:cubicBezTo>
                  <a:pt x="4860299" y="4404234"/>
                  <a:pt x="4729147" y="4621580"/>
                  <a:pt x="4493701" y="4621580"/>
                </a:cubicBezTo>
                <a:moveTo>
                  <a:pt x="4493701" y="4790006"/>
                </a:moveTo>
                <a:cubicBezTo>
                  <a:pt x="4973313" y="4790006"/>
                  <a:pt x="5239105" y="4431839"/>
                  <a:pt x="5239105" y="3994350"/>
                </a:cubicBezTo>
                <a:cubicBezTo>
                  <a:pt x="5239105" y="3556513"/>
                  <a:pt x="4973313" y="3198695"/>
                  <a:pt x="4493701" y="3198695"/>
                </a:cubicBezTo>
                <a:cubicBezTo>
                  <a:pt x="4014089" y="3198695"/>
                  <a:pt x="3748297" y="3556862"/>
                  <a:pt x="3748297" y="3994350"/>
                </a:cubicBezTo>
                <a:cubicBezTo>
                  <a:pt x="3748297" y="4431839"/>
                  <a:pt x="4014089" y="4790006"/>
                  <a:pt x="4493701" y="4790006"/>
                </a:cubicBezTo>
                <a:moveTo>
                  <a:pt x="2825698" y="4808176"/>
                </a:moveTo>
                <a:cubicBezTo>
                  <a:pt x="3336005" y="4808176"/>
                  <a:pt x="3534477" y="4502074"/>
                  <a:pt x="3534477" y="4101276"/>
                </a:cubicBezTo>
                <a:lnTo>
                  <a:pt x="3534477" y="2616892"/>
                </a:lnTo>
                <a:lnTo>
                  <a:pt x="3155671" y="2616892"/>
                </a:lnTo>
                <a:lnTo>
                  <a:pt x="3155671" y="4199117"/>
                </a:lnTo>
                <a:cubicBezTo>
                  <a:pt x="3155671" y="4456299"/>
                  <a:pt x="3058005" y="4609350"/>
                  <a:pt x="2825698" y="4609350"/>
                </a:cubicBezTo>
                <a:cubicBezTo>
                  <a:pt x="2596531" y="4609350"/>
                  <a:pt x="2495725" y="4447214"/>
                  <a:pt x="2495725" y="4168717"/>
                </a:cubicBezTo>
                <a:lnTo>
                  <a:pt x="2495725" y="3874845"/>
                </a:lnTo>
                <a:lnTo>
                  <a:pt x="2116919" y="3969890"/>
                </a:lnTo>
                <a:lnTo>
                  <a:pt x="2116919" y="4101626"/>
                </a:lnTo>
                <a:cubicBezTo>
                  <a:pt x="2116919" y="4502074"/>
                  <a:pt x="2315391" y="4808176"/>
                  <a:pt x="2825698" y="4808176"/>
                </a:cubicBezTo>
                <a:moveTo>
                  <a:pt x="809585" y="4584890"/>
                </a:moveTo>
                <a:cubicBezTo>
                  <a:pt x="516237" y="4584890"/>
                  <a:pt x="335903" y="4346228"/>
                  <a:pt x="335903" y="4092191"/>
                </a:cubicBezTo>
                <a:cubicBezTo>
                  <a:pt x="335903" y="3933200"/>
                  <a:pt x="406013" y="3786089"/>
                  <a:pt x="522166" y="3703623"/>
                </a:cubicBezTo>
                <a:lnTo>
                  <a:pt x="1212807" y="4459444"/>
                </a:lnTo>
                <a:cubicBezTo>
                  <a:pt x="1084446" y="4535969"/>
                  <a:pt x="940737" y="4584890"/>
                  <a:pt x="809585" y="4584890"/>
                </a:cubicBezTo>
                <a:moveTo>
                  <a:pt x="1178973" y="3489073"/>
                </a:moveTo>
                <a:cubicBezTo>
                  <a:pt x="1426278" y="3489073"/>
                  <a:pt x="1579056" y="3633038"/>
                  <a:pt x="1579056" y="3880785"/>
                </a:cubicBezTo>
                <a:cubicBezTo>
                  <a:pt x="1579056" y="3990856"/>
                  <a:pt x="1548361" y="4104072"/>
                  <a:pt x="1481390" y="4208202"/>
                </a:cubicBezTo>
                <a:lnTo>
                  <a:pt x="882834" y="3547078"/>
                </a:lnTo>
                <a:cubicBezTo>
                  <a:pt x="989570" y="3504447"/>
                  <a:pt x="1093515" y="3489073"/>
                  <a:pt x="1178973" y="3489073"/>
                </a:cubicBezTo>
                <a:moveTo>
                  <a:pt x="809585" y="2730108"/>
                </a:moveTo>
                <a:cubicBezTo>
                  <a:pt x="989919" y="2730108"/>
                  <a:pt x="1096654" y="2834238"/>
                  <a:pt x="1096654" y="3023979"/>
                </a:cubicBezTo>
                <a:cubicBezTo>
                  <a:pt x="1096654" y="3198346"/>
                  <a:pt x="1011196" y="3363627"/>
                  <a:pt x="800167" y="3458672"/>
                </a:cubicBezTo>
                <a:lnTo>
                  <a:pt x="668666" y="3311911"/>
                </a:lnTo>
                <a:cubicBezTo>
                  <a:pt x="552513" y="3183320"/>
                  <a:pt x="519027" y="3103650"/>
                  <a:pt x="519027" y="3008954"/>
                </a:cubicBezTo>
                <a:cubicBezTo>
                  <a:pt x="519027" y="2831093"/>
                  <a:pt x="632390" y="2730108"/>
                  <a:pt x="809585" y="2730108"/>
                </a:cubicBezTo>
                <a:moveTo>
                  <a:pt x="1576266" y="4312333"/>
                </a:moveTo>
                <a:cubicBezTo>
                  <a:pt x="1741252" y="4116302"/>
                  <a:pt x="1835779" y="3902101"/>
                  <a:pt x="1835779" y="3715504"/>
                </a:cubicBezTo>
                <a:cubicBezTo>
                  <a:pt x="1835779" y="3482783"/>
                  <a:pt x="1679862" y="3326937"/>
                  <a:pt x="1435696" y="3326937"/>
                </a:cubicBezTo>
                <a:cubicBezTo>
                  <a:pt x="1307335" y="3326937"/>
                  <a:pt x="1163625" y="3363627"/>
                  <a:pt x="1069098" y="3400317"/>
                </a:cubicBezTo>
                <a:lnTo>
                  <a:pt x="1062820" y="3388087"/>
                </a:lnTo>
                <a:cubicBezTo>
                  <a:pt x="1295126" y="3262641"/>
                  <a:pt x="1392793" y="3146280"/>
                  <a:pt x="1392793" y="2984144"/>
                </a:cubicBezTo>
                <a:cubicBezTo>
                  <a:pt x="1392793" y="2751423"/>
                  <a:pt x="1184903" y="2567971"/>
                  <a:pt x="818305" y="2567971"/>
                </a:cubicBezTo>
                <a:cubicBezTo>
                  <a:pt x="396595" y="2567971"/>
                  <a:pt x="189054" y="2803488"/>
                  <a:pt x="189054" y="3097360"/>
                </a:cubicBezTo>
                <a:cubicBezTo>
                  <a:pt x="189054" y="3256351"/>
                  <a:pt x="256374" y="3415692"/>
                  <a:pt x="433569" y="3608578"/>
                </a:cubicBezTo>
                <a:lnTo>
                  <a:pt x="436708" y="3614868"/>
                </a:lnTo>
                <a:cubicBezTo>
                  <a:pt x="137431" y="3758833"/>
                  <a:pt x="0" y="3991205"/>
                  <a:pt x="0" y="4230217"/>
                </a:cubicBezTo>
                <a:cubicBezTo>
                  <a:pt x="0" y="4545404"/>
                  <a:pt x="241376" y="4808526"/>
                  <a:pt x="613903" y="4808526"/>
                </a:cubicBezTo>
                <a:cubicBezTo>
                  <a:pt x="827723" y="4808526"/>
                  <a:pt x="1078167" y="4719770"/>
                  <a:pt x="1304544" y="4560779"/>
                </a:cubicBezTo>
                <a:lnTo>
                  <a:pt x="1488017" y="4759605"/>
                </a:lnTo>
                <a:lnTo>
                  <a:pt x="1967629" y="4759605"/>
                </a:lnTo>
                <a:lnTo>
                  <a:pt x="1967629" y="4744230"/>
                </a:lnTo>
                <a:lnTo>
                  <a:pt x="1576266" y="4312333"/>
                </a:lnTo>
                <a:close/>
              </a:path>
            </a:pathLst>
          </a:custGeom>
          <a:solidFill>
            <a:schemeClr val="bg1"/>
          </a:solidFill>
          <a:ln w="348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2885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anel Images - Long titles [Accessible Version]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04121E7-08DD-C793-86E0-65E3A5A388B9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4491B2F-D44C-0066-95F1-F250C57C0960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6FE39920-28CC-4C37-EC19-6F2C7A632392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893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400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6202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Panel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7D4FF8C-1D72-E0CF-4605-CF03816DB150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51803-8B14-5893-C6D9-F22E6D29647B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E30424-3D6B-9C32-D056-E12FEE159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C72F9C5-6F6D-587C-351F-0B5583DF1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E57334F2-2D9C-A261-5F71-74062D3E004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8085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anel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1DFFC51-5FDD-DBA1-C803-B017E296ADB6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A0B6D5-9FAE-6088-29AE-ECA683A12070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996C02B-DDD3-6ECC-5C7A-81C542C2C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738221C5-F9D8-43DB-B798-DF931264734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1021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705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4D4C34F6-671F-EEC0-FEE1-02A18D85B6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4389438"/>
            <a:ext cx="5732692" cy="13763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upporting details.</a:t>
            </a:r>
            <a:r>
              <a:rPr lang="en-GB"/>
              <a:t> Delete if not required. </a:t>
            </a:r>
            <a:r>
              <a:rPr lang="en-US" noProof="0"/>
              <a:t>Right click on background &gt; Select ‘Format background’ &gt; Select color fill to change color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83A6692-6756-028A-9F7E-2811210F0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C2666627-5EC6-6B74-6176-F0B74B3F4F6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585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ith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anchor="ctr"/>
          <a:lstStyle>
            <a:lvl1pPr algn="ctr"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ver the image, ensure the text is legibl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867205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491BFCC-4CF5-814A-036A-AA78247FF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0D2E5F5E-F3CC-1F16-9EBA-52574081CF6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0775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664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474C3C3-E6CF-FCE1-1181-F02BC23A10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340F79D8-9CB3-8533-8439-9D23904770BB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0565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C3BD605-06B1-68EF-DD24-2EA9D4780A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6385439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488600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3D73DEF-9C82-2768-837B-EB448FCEC2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961616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4000" y="2317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4000" y="6254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44000" y="1022195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44000" y="14189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44000" y="1815643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44000" y="221236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44000" y="260765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644000" y="300293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644000" y="339822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44000" y="379350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44000" y="4185778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644000" y="457804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644000" y="49690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644000" y="535998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BF28211-1086-A258-4B97-2558FD5CB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53050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8321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495918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07596-CD4E-AD17-0A30-2099816453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15771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43DFA16-4809-A367-8DA1-8599EDC67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1A9DEC-1972-000C-297E-FD62059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584D2C57-3904-61FA-F2B5-C74EFBC4BE0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8120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FE0DB2D-5681-9C6E-43DA-7FD40833A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5413844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88F223-1D7A-707E-10AB-5C41663BE54B}"/>
              </a:ext>
            </a:extLst>
          </p:cNvPr>
          <p:cNvSpPr/>
          <p:nvPr userDrawn="1"/>
        </p:nvSpPr>
        <p:spPr>
          <a:xfrm>
            <a:off x="6583680" y="0"/>
            <a:ext cx="56083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3085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bg1"/>
                </a:solidFill>
              </a:defRPr>
            </a:lvl2pPr>
            <a:lvl3pPr>
              <a:defRPr lang="en-GB" dirty="0" smtClean="0">
                <a:solidFill>
                  <a:schemeClr val="bg1"/>
                </a:solidFill>
              </a:defRPr>
            </a:lvl3pPr>
            <a:lvl4pPr>
              <a:defRPr lang="en-GB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616647F-6551-5C71-EECF-7BC298E933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 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EC8F6E-46BB-F39D-C0DC-751CB8913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51535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8"/>
            <a:ext cx="5733085" cy="342741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 i="0">
                <a:solidFill>
                  <a:schemeClr val="accent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tx1"/>
                </a:solidFill>
              </a:defRPr>
            </a:lvl2pPr>
            <a:lvl3pPr>
              <a:defRPr lang="en-GB" dirty="0" smtClean="0">
                <a:solidFill>
                  <a:schemeClr val="tx1"/>
                </a:solidFill>
              </a:defRPr>
            </a:lvl3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62EBE26-5504-780B-C8F1-AFCE930394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F5227C2-8D93-ABD3-A0D2-E4BD40BC7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084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5490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5495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3867150"/>
            <a:ext cx="3778250" cy="181600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9011399-EA78-1501-D5C3-39F7E534C3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42566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348819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A91C6-E980-9240-DC55-BBA4867CB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71150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7699C8C-E675-503A-24B2-BFCC24CE4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50093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50A90C1-8224-5C16-1EC9-D3E24C8CF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3345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705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1BEEFE38-569A-A8EF-1D54-81764BE3F5B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7036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FD518FF-79D2-C6D5-01D5-64DFE23120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18355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DCAB8AB-4C0B-7253-B5CE-B910AD2A2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703376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1599"/>
            <a:ext cx="2793541" cy="1902675"/>
          </a:xfrm>
        </p:spPr>
        <p:txBody>
          <a:bodyPr/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200" dirty="0" smtClean="0"/>
            </a:lvl3pPr>
            <a:lvl4pPr>
              <a:defRPr lang="en-GB" sz="1200" dirty="0" smtClean="0"/>
            </a:lvl4pPr>
            <a:lvl5pPr>
              <a:defRPr lang="en-GB" sz="8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21599"/>
            <a:ext cx="2793542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21599"/>
            <a:ext cx="2803525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21599"/>
            <a:ext cx="2793997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3B6904-8EEB-8C52-41B0-27C88B55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744522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459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4E01DA7-F0B0-D0D7-0F82-2CEA27458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1023226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1480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440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06874" y="4894903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4205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BE4CD19-6DA9-A930-91EE-59CB48D45E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994110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29178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0F27FF6-CF7D-B29E-40F2-BF449AACF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FCDADD7-2ADE-F7A6-3ACF-DBB0741F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8284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4313EC1-0D30-C944-21E6-B89F8290D2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4231746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76A8E91-3BCB-12F2-1699-CC1C37680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585632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,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10632110" cy="468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. Black or white text only.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1063210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4756748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GB"/>
              <a:t>Click to add text – delete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0920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664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D45A48FB-9AA7-F5E5-80E7-97EC299F000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FF01E-CE3E-39E2-D61B-0FA837B6BD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1583976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60267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92801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7210571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42051203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CA9CB80-774D-68B5-7E25-86D9D123D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2003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957206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00874E2-51B6-C9BA-5767-10D0B2852D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947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7951840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5" y="2338387"/>
            <a:ext cx="4750422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F0325E1-B647-A8E5-18BB-BF2ED4C7A4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7693690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37731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0" y="0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6830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3490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979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96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578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6824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89912C14-54EA-5DA7-6F07-C2AB6D29AF6F}"/>
              </a:ext>
            </a:extLst>
          </p:cNvPr>
          <p:cNvSpPr>
            <a:spLocks noChangeAspect="1"/>
          </p:cNvSpPr>
          <p:nvPr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tx2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4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tabLst/>
        <a:defRPr sz="7400" b="0" i="0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26B43"/>
          </p15:clr>
        </p15:guide>
        <p15:guide id="2" pos="181">
          <p15:clr>
            <a:srgbClr val="F26B43"/>
          </p15:clr>
        </p15:guide>
        <p15:guide id="3" pos="708">
          <p15:clr>
            <a:srgbClr val="F26B43"/>
          </p15:clr>
        </p15:guide>
        <p15:guide id="4" pos="798">
          <p15:clr>
            <a:srgbClr val="F26B43"/>
          </p15:clr>
        </p15:guide>
        <p15:guide id="5" pos="1325">
          <p15:clr>
            <a:srgbClr val="F26B43"/>
          </p15:clr>
        </p15:guide>
        <p15:guide id="6" pos="1415">
          <p15:clr>
            <a:srgbClr val="F26B43"/>
          </p15:clr>
        </p15:guide>
        <p15:guide id="7" pos="1942">
          <p15:clr>
            <a:srgbClr val="F26B43"/>
          </p15:clr>
        </p15:guide>
        <p15:guide id="8" pos="2032">
          <p15:clr>
            <a:srgbClr val="F26B43"/>
          </p15:clr>
        </p15:guide>
        <p15:guide id="9" pos="2559">
          <p15:clr>
            <a:srgbClr val="F26B43"/>
          </p15:clr>
        </p15:guide>
        <p15:guide id="10" pos="2650">
          <p15:clr>
            <a:srgbClr val="F26B43"/>
          </p15:clr>
        </p15:guide>
        <p15:guide id="11" pos="3176">
          <p15:clr>
            <a:srgbClr val="F26B43"/>
          </p15:clr>
        </p15:guide>
        <p15:guide id="12" pos="3267">
          <p15:clr>
            <a:srgbClr val="F26B43"/>
          </p15:clr>
        </p15:guide>
        <p15:guide id="13" pos="3793">
          <p15:clr>
            <a:srgbClr val="F26B43"/>
          </p15:clr>
        </p15:guide>
        <p15:guide id="14" pos="3884">
          <p15:clr>
            <a:srgbClr val="F26B43"/>
          </p15:clr>
        </p15:guide>
        <p15:guide id="15" pos="4411">
          <p15:clr>
            <a:srgbClr val="F26B43"/>
          </p15:clr>
        </p15:guide>
        <p15:guide id="16" pos="4501">
          <p15:clr>
            <a:srgbClr val="F26B43"/>
          </p15:clr>
        </p15:guide>
        <p15:guide id="17" pos="5028">
          <p15:clr>
            <a:srgbClr val="F26B43"/>
          </p15:clr>
        </p15:guide>
        <p15:guide id="18" pos="5118">
          <p15:clr>
            <a:srgbClr val="F26B43"/>
          </p15:clr>
        </p15:guide>
        <p15:guide id="19" pos="5645">
          <p15:clr>
            <a:srgbClr val="F26B43"/>
          </p15:clr>
        </p15:guide>
        <p15:guide id="20" pos="5735">
          <p15:clr>
            <a:srgbClr val="F26B43"/>
          </p15:clr>
        </p15:guide>
        <p15:guide id="21" pos="6262">
          <p15:clr>
            <a:srgbClr val="F26B43"/>
          </p15:clr>
        </p15:guide>
        <p15:guide id="22" pos="6352">
          <p15:clr>
            <a:srgbClr val="F26B43"/>
          </p15:clr>
        </p15:guide>
        <p15:guide id="23" pos="6879">
          <p15:clr>
            <a:srgbClr val="F26B43"/>
          </p15:clr>
        </p15:guide>
        <p15:guide id="24" pos="6970">
          <p15:clr>
            <a:srgbClr val="F26B43"/>
          </p15:clr>
        </p15:guide>
        <p15:guide id="25" pos="7496">
          <p15:clr>
            <a:srgbClr val="F26B43"/>
          </p15:clr>
        </p15:guide>
        <p15:guide id="28" orient="horz" pos="1382">
          <p15:clr>
            <a:srgbClr val="F26B43"/>
          </p15:clr>
        </p15:guide>
        <p15:guide id="29" orient="horz" pos="1473">
          <p15:clr>
            <a:srgbClr val="F26B43"/>
          </p15:clr>
        </p15:guide>
        <p15:guide id="30" orient="horz" pos="2024">
          <p15:clr>
            <a:srgbClr val="F26B43"/>
          </p15:clr>
        </p15:guide>
        <p15:guide id="31" orient="horz" pos="2115">
          <p15:clr>
            <a:srgbClr val="F26B43"/>
          </p15:clr>
        </p15:guide>
        <p15:guide id="32" orient="horz" pos="2666">
          <p15:clr>
            <a:srgbClr val="F26B43"/>
          </p15:clr>
        </p15:guide>
        <p15:guide id="33" orient="horz" pos="2757">
          <p15:clr>
            <a:srgbClr val="F26B43"/>
          </p15:clr>
        </p15:guide>
        <p15:guide id="34" orient="horz" pos="3308">
          <p15:clr>
            <a:srgbClr val="F26B43"/>
          </p15:clr>
        </p15:guide>
        <p15:guide id="35" orient="horz" pos="3398">
          <p15:clr>
            <a:srgbClr val="F26B43"/>
          </p15:clr>
        </p15:guide>
        <p15:guide id="36" orient="horz" pos="3954">
          <p15:clr>
            <a:srgbClr val="F26B43"/>
          </p15:clr>
        </p15:guide>
        <p15:guide id="37" orient="horz" pos="4044">
          <p15:clr>
            <a:srgbClr val="F26B43"/>
          </p15:clr>
        </p15:guide>
        <p15:guide id="38" orient="horz" pos="4131">
          <p15:clr>
            <a:srgbClr val="F26B43"/>
          </p15:clr>
        </p15:guide>
        <p15:guide id="39" orient="horz" pos="738">
          <p15:clr>
            <a:srgbClr val="F26B43"/>
          </p15:clr>
        </p15:guide>
        <p15:guide id="40" orient="horz" pos="828">
          <p15:clr>
            <a:srgbClr val="F26B43"/>
          </p15:clr>
        </p15:guide>
        <p15:guide id="41" orient="horz" pos="1060">
          <p15:clr>
            <a:srgbClr val="F26B43"/>
          </p15:clr>
        </p15:guide>
        <p15:guide id="42" orient="horz" pos="1148">
          <p15:clr>
            <a:srgbClr val="F26B43"/>
          </p15:clr>
        </p15:guide>
        <p15:guide id="43" orient="horz" pos="1702">
          <p15:clr>
            <a:srgbClr val="F26B43"/>
          </p15:clr>
        </p15:guide>
        <p15:guide id="44" orient="horz" pos="1794">
          <p15:clr>
            <a:srgbClr val="F26B43"/>
          </p15:clr>
        </p15:guide>
        <p15:guide id="45" orient="horz" pos="2346">
          <p15:clr>
            <a:srgbClr val="F26B43"/>
          </p15:clr>
        </p15:guide>
        <p15:guide id="46" orient="horz" pos="2436">
          <p15:clr>
            <a:srgbClr val="F26B43"/>
          </p15:clr>
        </p15:guide>
        <p15:guide id="47" orient="horz" pos="2990">
          <p15:clr>
            <a:srgbClr val="F26B43"/>
          </p15:clr>
        </p15:guide>
        <p15:guide id="48" orient="horz" pos="3080">
          <p15:clr>
            <a:srgbClr val="F26B43"/>
          </p15:clr>
        </p15:guide>
        <p15:guide id="49" orient="horz" pos="3632">
          <p15:clr>
            <a:srgbClr val="F26B43"/>
          </p15:clr>
        </p15:guide>
        <p15:guide id="50" orient="horz" pos="3722">
          <p15:clr>
            <a:srgbClr val="F26B43"/>
          </p15:clr>
        </p15:guide>
        <p15:guide id="51" orient="horz" pos="346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33878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910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766" r:id="rId36"/>
    <p:sldLayoutId id="2147483767" r:id="rId37"/>
    <p:sldLayoutId id="2147483768" r:id="rId38"/>
    <p:sldLayoutId id="2147483769" r:id="rId39"/>
    <p:sldLayoutId id="2147483770" r:id="rId40"/>
    <p:sldLayoutId id="2147483771" r:id="rId41"/>
    <p:sldLayoutId id="2147483772" r:id="rId42"/>
    <p:sldLayoutId id="2147483773" r:id="rId43"/>
    <p:sldLayoutId id="2147483774" r:id="rId44"/>
    <p:sldLayoutId id="2147483775" r:id="rId45"/>
    <p:sldLayoutId id="2147483776" r:id="rId46"/>
    <p:sldLayoutId id="2147483777" r:id="rId47"/>
    <p:sldLayoutId id="2147483778" r:id="rId48"/>
    <p:sldLayoutId id="2147483779" r:id="rId49"/>
    <p:sldLayoutId id="2147483780" r:id="rId50"/>
    <p:sldLayoutId id="2147483781" r:id="rId51"/>
    <p:sldLayoutId id="2147483782" r:id="rId52"/>
    <p:sldLayoutId id="2147483783" r:id="rId5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Zhuoxin.Yu@bms.com" TargetMode="External"/><Relationship Id="rId2" Type="http://schemas.openxmlformats.org/officeDocument/2006/relationships/hyperlink" Target="mailto:Palanikumar.Ravindran@bms.com" TargetMode="External"/><Relationship Id="rId1" Type="http://schemas.openxmlformats.org/officeDocument/2006/relationships/slideLayout" Target="../slideLayouts/slideLayout17.xml"/><Relationship Id="rId5" Type="http://schemas.openxmlformats.org/officeDocument/2006/relationships/hyperlink" Target="mailto:Kyle.Wathen@cytel.com" TargetMode="External"/><Relationship Id="rId4" Type="http://schemas.openxmlformats.org/officeDocument/2006/relationships/hyperlink" Target="mailto:inna.perevozskaya@bms.com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EC91AC-C302-AEC3-1CD4-A5616037B7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10742674" cy="5949386"/>
          </a:xfrm>
        </p:spPr>
        <p:txBody>
          <a:bodyPr/>
          <a:lstStyle/>
          <a:p>
            <a:r>
              <a:rPr lang="en-US" sz="8000"/>
              <a:t>ASA BIOP SWG</a:t>
            </a:r>
            <a:br>
              <a:rPr lang="en-US" sz="8000"/>
            </a:br>
            <a:r>
              <a:rPr lang="en-US" sz="8000"/>
              <a:t>EFFICIENCY+: Enhancing Clinical Trial Operations Through Advanced Statistics</a:t>
            </a:r>
            <a:br>
              <a:rPr lang="en-US" sz="8000"/>
            </a:br>
            <a:endParaRPr lang="en-US" sz="8000" noProof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8D00CAB-6CD1-F917-8791-A1C15D7038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5A1CE5-5CB3-7761-DE4C-363F57A6A1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324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76294-79C1-C842-7927-EDD63985B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1652224-7AFD-7B63-9633-70592C46E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323594" cy="428451"/>
          </a:xfrm>
        </p:spPr>
        <p:txBody>
          <a:bodyPr/>
          <a:lstStyle/>
          <a:p>
            <a:r>
              <a:rPr lang="en-US" sz="3200"/>
              <a:t>Executive Summary and Status Update</a:t>
            </a:r>
            <a:endParaRPr lang="en-US" sz="3200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A00442-2C3F-696D-7683-A21CD8181C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2" y="1145922"/>
            <a:ext cx="11610516" cy="3943349"/>
          </a:xfrm>
        </p:spPr>
        <p:txBody>
          <a:bodyPr/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SA BIOP SWG proposal on operational efficiency was approved by ASA EC (April 2025)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-chairs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ei Chen (JJIM), Bohdana Ratitch (Bayer)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WG name</a:t>
            </a:r>
          </a:p>
          <a:p>
            <a:pPr marL="571500" lvl="1"/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fficiency+: Enhancing clinical trial operations with advanced statistics</a:t>
            </a:r>
            <a:endParaRPr lang="en-US" sz="200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mediate to-do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cruit core-teams and organize subcommittee for different workstreams</a:t>
            </a:r>
          </a:p>
          <a:p>
            <a:pPr marL="571500" lvl="1"/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stablish on-line presence</a:t>
            </a:r>
          </a:p>
          <a:p>
            <a:pPr marL="857250" lvl="2"/>
            <a:r>
              <a:rPr lang="en-US" sz="180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ithub</a:t>
            </a:r>
            <a:r>
              <a:rPr lang="en-US" sz="1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repository https://efficiencyplustrials.github.io/</a:t>
            </a:r>
          </a:p>
          <a:p>
            <a:pPr marL="857250" lvl="2"/>
            <a:r>
              <a:rPr lang="en-US" sz="180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Linkedin</a:t>
            </a:r>
            <a:r>
              <a:rPr lang="en-US" sz="1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, X, </a:t>
            </a:r>
            <a:r>
              <a:rPr lang="en-US" sz="180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tc</a:t>
            </a:r>
            <a:endParaRPr lang="en-US" sz="180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E4BFBEA-0517-0C44-A28F-4DA7A21D8AF4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5D1216-B8EE-3315-94DE-563AE5EA6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3361CD-1F4F-A146-4D33-22017F8C1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4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6DD337-4F76-06E8-275B-FF004BAB1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5B2955FB-B64D-3C69-32F6-0A7167F51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/>
              <a:t>Initial candidate member poo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7E0AEE-B3A9-62AF-928C-92A44C4B3B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SLC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GIA or CSC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olodymyr Anisimov, </a:t>
            </a:r>
            <a:r>
              <a:rPr lang="en-US" sz="2800"/>
              <a:t>vanisimov@amgen.com</a:t>
            </a:r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alanikumar Ravindran, 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2"/>
              </a:rPr>
              <a:t>Palanikumar.Ravindran@bms.com</a:t>
            </a:r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Zhuoxin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Yu, 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3"/>
              </a:rPr>
              <a:t>Zhuoxin.Yu@bms.com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na </a:t>
            </a:r>
            <a:r>
              <a:rPr lang="en-US" sz="280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erevozskaya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, 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4"/>
              </a:rPr>
              <a:t>inna.perevozskaya@bms.com</a:t>
            </a:r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Kyle Wathen, </a:t>
            </a:r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5"/>
              </a:rPr>
              <a:t>Kyle.Wathen@cytel.com</a:t>
            </a:r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49DCCC2B-E75B-7681-B06D-A3777BC5D344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D55B92-69AF-6F67-220B-F23EC94FB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886709-2217-BFA7-4120-8E4D700E5D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207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4295C-3FB4-90E7-13B2-F604F2E81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895E0CF-61E7-2533-2BB5-898BD7070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323594" cy="847027"/>
          </a:xfrm>
        </p:spPr>
        <p:txBody>
          <a:bodyPr/>
          <a:lstStyle/>
          <a:p>
            <a:r>
              <a:rPr lang="en-US" sz="3200" noProof="0"/>
              <a:t>Intro and Vision:  Help drive the future of efficient clinical trials</a:t>
            </a:r>
            <a:br>
              <a:rPr lang="en-US" sz="3200" noProof="0"/>
            </a:br>
            <a:endParaRPr lang="en-US" sz="3200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1C6394-5795-5F1F-5386-BE0A55CA0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2" y="1145922"/>
            <a:ext cx="11610516" cy="3943349"/>
          </a:xfrm>
        </p:spPr>
        <p:txBody>
          <a:bodyPr/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hy?</a:t>
            </a:r>
            <a:endParaRPr lang="en-US" sz="20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s are increasingly operationally complex and costly.</a:t>
            </a:r>
          </a:p>
          <a:p>
            <a:pPr marL="571500" lvl="1"/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mall incremental benefit even at 1-2% can have the potential to bring large absolute gains</a:t>
            </a:r>
            <a:endParaRPr lang="en-US" sz="200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al innovation can unlock faster, more </a:t>
            </a:r>
            <a:r>
              <a:rPr lang="en-US" sz="200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fficient</a:t>
            </a: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rial execution.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Need for actionable methods in patient enrollment, monitoring and risk mitigation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ision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stablish a </a:t>
            </a:r>
            <a:r>
              <a:rPr lang="en-US" sz="200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ross-sector</a:t>
            </a: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hub for statisticians, operations leaders, and regulatory experts.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dvance </a:t>
            </a:r>
            <a:r>
              <a:rPr lang="en-US" sz="200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actical</a:t>
            </a: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solutions to drive trial efficiency, reduce costs, and accelerate timelines.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pact</a:t>
            </a:r>
          </a:p>
          <a:p>
            <a:pPr marL="571500" lvl="1"/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</a:t>
            </a:r>
            <a:r>
              <a:rPr lang="en-US" sz="2000">
                <a:solidFill>
                  <a:srgbClr val="FF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hinking on trial operational methods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est practice standards for trial operational modeling</a:t>
            </a:r>
          </a:p>
          <a:p>
            <a:pPr marL="571500" lvl="1"/>
            <a:r>
              <a:rPr lang="en-US" sz="20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n-source tool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0EDEA25-52F7-7DA5-D395-7EC4BDA35EB7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B5D934-FC23-EB4C-742F-7E755EC0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4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808C04-252F-496E-F497-DFEA1A1AF4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29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B9ABD-FC00-EAB3-F7EB-4A9BEDBFB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E93BE5AF-100D-4FC7-E76A-2FB32AB66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/>
              <a:t>Member Composi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0CD64B5-B4D5-62D4-01F3-D79FE80E6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Operations Champion (non-statistician)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 Statistician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rational Data Experts (CTMS/EDC/KPI)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oftware Platform Experts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cademic Methodologist (</a:t>
            </a:r>
            <a:r>
              <a:rPr lang="en-US" sz="26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Time Monitoring Analytics)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supply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0FD6B8E2-A8E1-3E65-56ED-75053517FFBE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935DBD-ABBE-E456-F5FE-6131C8BC0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6B9054-54E5-55BF-E03C-32707557EC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452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B6835-11D4-5DCF-18E4-D07D59363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C5C1E8-BBFA-0CBA-1B96-A8044D2C7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926407"/>
          </a:xfrm>
        </p:spPr>
        <p:txBody>
          <a:bodyPr/>
          <a:lstStyle/>
          <a:p>
            <a:r>
              <a:rPr lang="en-US"/>
              <a:t>D</a:t>
            </a:r>
            <a:r>
              <a:rPr lang="en-US" noProof="0" err="1"/>
              <a:t>eliverable</a:t>
            </a:r>
            <a:r>
              <a:rPr lang="en-US" noProof="0"/>
              <a:t> </a:t>
            </a:r>
            <a:r>
              <a:rPr lang="en-US"/>
              <a:t>with </a:t>
            </a:r>
            <a:r>
              <a:rPr lang="en-US" noProof="0"/>
              <a:t>Industry Impact</a:t>
            </a:r>
            <a:br>
              <a:rPr lang="en-US" noProof="0"/>
            </a:br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5B493F-A540-C578-946D-466E8B6B7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industry practice and shape regulatory acceptance of statistical operational innovations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mote enrollment risk mitigation strategies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s in BIOP Research special issue?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SA BIOP newsletter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JSM/ENAR/FDA RISW Workshop 2026 sessions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COPE/CRO/CTI Summit 2026 presentations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“Operational Efficiency Statistical Innovation Toolkit”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 repository of models, code, guidelines, examples and presentations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im to be cited across industry as the go-to reference</a:t>
            </a:r>
          </a:p>
          <a:p>
            <a:pPr marL="571500" lvl="1"/>
            <a:endParaRPr lang="en-US" sz="30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endParaRPr lang="en-US" sz="30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E10CD67-DAC8-1DDC-CC4D-2DEC7A8A5A60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BC194A-23A3-C89F-F6C5-C1ABC1D71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EA9266-78C2-0544-E7F7-0F6BA125CC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2421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96DA8-60ED-7D11-D5D0-9ACF97FF6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CB3027C-0AD8-BF87-B962-810D2FB11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468590"/>
          </a:xfrm>
        </p:spPr>
        <p:txBody>
          <a:bodyPr/>
          <a:lstStyle/>
          <a:p>
            <a:r>
              <a:rPr lang="en-US"/>
              <a:t>Role of GenAI</a:t>
            </a:r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0048E25-F4A6-8759-E522-C8A832FA48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ite and Patient Recruitment Optimization</a:t>
            </a:r>
          </a:p>
          <a:p>
            <a:pPr marL="857250" lvl="2"/>
            <a:r>
              <a:rPr lang="en-US" sz="26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enAI ranks potential new sites not just by previous enrollment, but by nuanced signals (staff turnover, trial competition, seasonal patterns).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isk-Based Monitoring and Anomaly Detection</a:t>
            </a:r>
          </a:p>
          <a:p>
            <a:pPr marL="857250" lvl="2"/>
            <a:r>
              <a:rPr lang="en-US" sz="26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Monitor operational trial data streams (e.g., visit schedules, protocol deviations, screen failure rates) and generate alerts or summaries of anomalies before they escalate.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C862FC8-AE6F-5FD0-9FD0-8A3DC85256DF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7F0368-C82A-7942-4DB9-D10CFECF0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7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728CBB-F767-8539-E240-B4ACA5111F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47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23722-D100-EDDD-CAA2-1C8DB125A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2A5EE91B-D436-64AA-7A75-D9066CC2B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/>
              <a:t>Time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7A569F9-8642-7C90-A9D2-485234A94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ocus in the first 18 Months</a:t>
            </a:r>
          </a:p>
          <a:p>
            <a:pPr marL="857250" lvl="2"/>
            <a:r>
              <a:rPr lang="en-US" sz="26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arly wins with presentations/short course/webinars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world usage (tools, case studies)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aps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hought leadership</a:t>
            </a:r>
          </a:p>
          <a:p>
            <a:pPr marL="857250" lvl="2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oolkit and publication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51A7208-EB5E-62AA-79CA-757F08EA1F3D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C3005-E705-A6AF-B6EC-03F2717C5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C4FD17-2104-B256-F407-C5654BDCC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027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4D3C2-1DF0-2E03-6080-F0B47EDF1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8F7DE0A-7750-84AE-59F1-D164BEF28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/>
              <a:t>Timelin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683651EB-02C5-DF09-02B2-32DF29CB1479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761560-F298-2509-C923-48BC71C65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9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C8DE98-9AFB-532E-1594-8E9BD8B7FD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A4EEE8C-11D9-4929-62BA-AE2F4DDC3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374140"/>
              </p:ext>
            </p:extLst>
          </p:nvPr>
        </p:nvGraphicFramePr>
        <p:xfrm>
          <a:off x="141209" y="1006585"/>
          <a:ext cx="11906865" cy="53316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6290">
                  <a:extLst>
                    <a:ext uri="{9D8B030D-6E8A-4147-A177-3AD203B41FA5}">
                      <a16:colId xmlns:a16="http://schemas.microsoft.com/office/drawing/2014/main" val="1238702808"/>
                    </a:ext>
                  </a:extLst>
                </a:gridCol>
                <a:gridCol w="1908099">
                  <a:extLst>
                    <a:ext uri="{9D8B030D-6E8A-4147-A177-3AD203B41FA5}">
                      <a16:colId xmlns:a16="http://schemas.microsoft.com/office/drawing/2014/main" val="196721818"/>
                    </a:ext>
                  </a:extLst>
                </a:gridCol>
                <a:gridCol w="8302476">
                  <a:extLst>
                    <a:ext uri="{9D8B030D-6E8A-4147-A177-3AD203B41FA5}">
                      <a16:colId xmlns:a16="http://schemas.microsoft.com/office/drawing/2014/main" val="2758332393"/>
                    </a:ext>
                  </a:extLst>
                </a:gridCol>
              </a:tblGrid>
              <a:tr h="769153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Timeline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hat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How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617040056"/>
                  </a:ext>
                </a:extLst>
              </a:tr>
              <a:tr h="827649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0–1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Launch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err="1">
                          <a:effectLst/>
                        </a:rPr>
                        <a:t>Linkedin</a:t>
                      </a:r>
                      <a:endParaRPr lang="en-US" sz="2000">
                        <a:effectLst/>
                      </a:endParaRP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err="1">
                          <a:effectLst/>
                        </a:rPr>
                        <a:t>github</a:t>
                      </a:r>
                      <a:r>
                        <a:rPr lang="en-US" sz="2000">
                          <a:effectLst/>
                        </a:rPr>
                        <a:t>, https://efficiencyplustrials.github.io/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recruit core team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organize initial subcommittees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983944694"/>
                  </a:ext>
                </a:extLst>
              </a:tr>
              <a:tr h="76907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1–2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Kick off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Set vision, assign subcommittee goals, plan easy wins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581408535"/>
                  </a:ext>
                </a:extLst>
              </a:tr>
              <a:tr h="8947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2–6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ork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Start working on ???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888090358"/>
                  </a:ext>
                </a:extLst>
              </a:tr>
              <a:tr h="5899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6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BASS 2025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Short course on enrollment monitoring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362056395"/>
                  </a:ext>
                </a:extLst>
              </a:tr>
              <a:tr h="72758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Month 12-18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latin typeface="Aptos" panose="020B0004020202020204" pitchFamily="34" charset="0"/>
                          <a:ea typeface="Times New Roman" panose="02020603050405020304" pitchFamily="18" charset="0"/>
                          <a:cs typeface="Aptos" panose="020B0004020202020204" pitchFamily="34" charset="0"/>
                        </a:rPr>
                        <a:t>Establish leadership and expand influence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26502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80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Johnson and Johnson">
  <a:themeElements>
    <a:clrScheme name="JNJ">
      <a:dk1>
        <a:srgbClr val="000000"/>
      </a:dk1>
      <a:lt1>
        <a:srgbClr val="FFFFFF"/>
      </a:lt1>
      <a:dk2>
        <a:srgbClr val="EB1700"/>
      </a:dk2>
      <a:lt2>
        <a:srgbClr val="564C47"/>
      </a:lt2>
      <a:accent1>
        <a:srgbClr val="EB1700"/>
      </a:accent1>
      <a:accent2>
        <a:srgbClr val="000000"/>
      </a:accent2>
      <a:accent3>
        <a:srgbClr val="C4BDB6"/>
      </a:accent3>
      <a:accent4>
        <a:srgbClr val="004686"/>
      </a:accent4>
      <a:accent5>
        <a:srgbClr val="68D2FF"/>
      </a:accent5>
      <a:accent6>
        <a:srgbClr val="541981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triangl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JNJ_PPT_Template_R4_v3" id="{416AD5BC-E677-7649-BDD5-4B24D3B639BA}" vid="{CC5F65D7-BC33-A645-9363-0F7209EECF07}"/>
    </a:ext>
  </a:extLst>
</a:theme>
</file>

<file path=ppt/theme/theme2.xml><?xml version="1.0" encoding="utf-8"?>
<a:theme xmlns:a="http://schemas.openxmlformats.org/drawingml/2006/main" name="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3FF63EC5-8330-9F44-869C-1FA3CFA3DBF9}" vid="{2C9F9779-7CC1-0B4D-A9C5-68DC31FC790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7B53FE8582E34E9AFB5C127B74F85C" ma:contentTypeVersion="17" ma:contentTypeDescription="Create a new document." ma:contentTypeScope="" ma:versionID="c40066f5d4cd8086abf319e9a6a2bdfd">
  <xsd:schema xmlns:xsd="http://www.w3.org/2001/XMLSchema" xmlns:xs="http://www.w3.org/2001/XMLSchema" xmlns:p="http://schemas.microsoft.com/office/2006/metadata/properties" xmlns:ns2="5d8367f4-c68e-4a97-a9ba-2d7451eb6103" xmlns:ns3="f1735117-a50b-434e-871a-15319865d687" targetNamespace="http://schemas.microsoft.com/office/2006/metadata/properties" ma:root="true" ma:fieldsID="af97b16205e1aec697c7ffc5288f0912" ns2:_="" ns3:_="">
    <xsd:import namespace="5d8367f4-c68e-4a97-a9ba-2d7451eb6103"/>
    <xsd:import namespace="f1735117-a50b-434e-871a-15319865d6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367f4-c68e-4a97-a9ba-2d7451eb61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e82b97c-6a8a-4995-9eb5-298aced380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35117-a50b-434e-871a-15319865d68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8367f4-c68e-4a97-a9ba-2d7451eb610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559FB84-1A92-44F0-B4A6-0FDA07A98296}">
  <ds:schemaRefs>
    <ds:schemaRef ds:uri="5d8367f4-c68e-4a97-a9ba-2d7451eb6103"/>
    <ds:schemaRef ds:uri="f1735117-a50b-434e-871a-15319865d6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81CB736-9F87-451D-8352-E24F56588A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37A32B-E6C6-465A-B463-FEEC22D17C4F}">
  <ds:schemaRefs>
    <ds:schemaRef ds:uri="5d8367f4-c68e-4a97-a9ba-2d7451eb6103"/>
    <ds:schemaRef ds:uri="f1735117-a50b-434e-871a-15319865d6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80</Words>
  <Application>Microsoft Office PowerPoint</Application>
  <PresentationFormat>Widescreen</PresentationFormat>
  <Paragraphs>105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ptos</vt:lpstr>
      <vt:lpstr>Arial</vt:lpstr>
      <vt:lpstr>Johnson Display</vt:lpstr>
      <vt:lpstr>Johnson Text</vt:lpstr>
      <vt:lpstr>Times New Roman</vt:lpstr>
      <vt:lpstr>Verdana</vt:lpstr>
      <vt:lpstr>Johnson and Johnson</vt:lpstr>
      <vt:lpstr>Johnson and Johnson: Innovative Medicine</vt:lpstr>
      <vt:lpstr>ASA BIOP SWG EFFICIENCY+: Enhancing Clinical Trial Operations Through Advanced Statistics </vt:lpstr>
      <vt:lpstr>Executive Summary and Status Update</vt:lpstr>
      <vt:lpstr>Initial candidate member pool</vt:lpstr>
      <vt:lpstr>Intro and Vision:  Help drive the future of efficient clinical trials </vt:lpstr>
      <vt:lpstr>Member Composition</vt:lpstr>
      <vt:lpstr>Deliverable with Industry Impact </vt:lpstr>
      <vt:lpstr>Role of GenAI</vt:lpstr>
      <vt:lpstr>Timeline</vt:lpstr>
      <vt:lpstr>Time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hancing PRD with discontinuation risk predictive modeling</dc:title>
  <dc:creator>Chen, Fei [JRDUS]</dc:creator>
  <cp:lastModifiedBy>Chen, Fei [JRDUS]</cp:lastModifiedBy>
  <cp:revision>1</cp:revision>
  <dcterms:created xsi:type="dcterms:W3CDTF">2024-10-16T14:30:22Z</dcterms:created>
  <dcterms:modified xsi:type="dcterms:W3CDTF">2025-05-01T12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7B53FE8582E34E9AFB5C127B74F85C</vt:lpwstr>
  </property>
  <property fmtid="{D5CDD505-2E9C-101B-9397-08002B2CF9AE}" pid="3" name="MediaServiceImageTags">
    <vt:lpwstr/>
  </property>
</Properties>
</file>